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
    <p:sldMasterId id="2147483714" r:id="rId2"/>
    <p:sldMasterId id="2147483727" r:id="rId3"/>
    <p:sldMasterId id="2147483734" r:id="rId4"/>
    <p:sldMasterId id="2147483741" r:id="rId5"/>
    <p:sldMasterId id="2147483748" r:id="rId6"/>
    <p:sldMasterId id="2147483758" r:id="rId7"/>
  </p:sldMasterIdLst>
  <p:notesMasterIdLst>
    <p:notesMasterId r:id="rId21"/>
  </p:notesMasterIdLst>
  <p:sldIdLst>
    <p:sldId id="257" r:id="rId8"/>
    <p:sldId id="259" r:id="rId9"/>
    <p:sldId id="256" r:id="rId10"/>
    <p:sldId id="276" r:id="rId11"/>
    <p:sldId id="277" r:id="rId12"/>
    <p:sldId id="278" r:id="rId13"/>
    <p:sldId id="279" r:id="rId14"/>
    <p:sldId id="269" r:id="rId15"/>
    <p:sldId id="271" r:id="rId16"/>
    <p:sldId id="272" r:id="rId17"/>
    <p:sldId id="273" r:id="rId18"/>
    <p:sldId id="274" r:id="rId19"/>
    <p:sldId id="26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9FD7"/>
    <a:srgbClr val="E34F24"/>
    <a:srgbClr val="3C454F"/>
    <a:srgbClr val="BDCD2C"/>
    <a:srgbClr val="617081"/>
    <a:srgbClr val="1D4380"/>
    <a:srgbClr val="0171B0"/>
    <a:srgbClr val="80B9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82" autoAdjust="0"/>
    <p:restoredTop sz="94660"/>
  </p:normalViewPr>
  <p:slideViewPr>
    <p:cSldViewPr snapToGrid="0">
      <p:cViewPr varScale="1">
        <p:scale>
          <a:sx n="113" d="100"/>
          <a:sy n="113" d="100"/>
        </p:scale>
        <p:origin x="126" y="9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ACD2CAE5-6CA8-422A-A552-FA71416125D4}">
      <dgm:prSet/>
      <dgm:spPr/>
      <dgm:t>
        <a:bodyPr/>
        <a:lstStyle/>
        <a:p>
          <a:pPr rtl="0"/>
          <a:r>
            <a:rPr lang="en-US" baseline="0" dirty="0" smtClean="0"/>
            <a:t>Visual Studio</a:t>
          </a:r>
          <a:endParaRPr lang="en-US" dirty="0"/>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dirty="0" smtClean="0"/>
            <a:t>Microsoft </a:t>
          </a:r>
          <a:r>
            <a:rPr lang="en-US" baseline="0" dirty="0" smtClean="0"/>
            <a:t>Azure</a:t>
          </a:r>
          <a:endParaRPr lang="en-US" dirty="0"/>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EC96CC-6899-43CC-99D8-2B5B67C93827}">
      <dgm:prSet/>
      <dgm:spPr/>
      <dgm:t>
        <a:bodyPr/>
        <a:lstStyle/>
        <a:p>
          <a:pPr rtl="0"/>
          <a:r>
            <a:rPr lang="en-US" baseline="0" dirty="0" smtClean="0"/>
            <a:t>NuGet</a:t>
          </a:r>
          <a:endParaRPr lang="en-US" dirty="0"/>
        </a:p>
      </dgm:t>
    </dgm:pt>
    <dgm:pt modelId="{19BEF542-9A55-4227-958B-7672C8A3F132}" type="parTrans" cxnId="{C49FD9FD-EB55-478E-9BF8-7A33842FBAC1}">
      <dgm:prSet/>
      <dgm:spPr/>
      <dgm:t>
        <a:bodyPr/>
        <a:lstStyle/>
        <a:p>
          <a:endParaRPr lang="en-US"/>
        </a:p>
      </dgm:t>
    </dgm:pt>
    <dgm:pt modelId="{1108C22D-D867-484A-A5AB-C27F9AE80D39}" type="sibTrans" cxnId="{C49FD9FD-EB55-478E-9BF8-7A33842FBAC1}">
      <dgm:prSet/>
      <dgm:spPr/>
      <dgm:t>
        <a:bodyPr/>
        <a:lstStyle/>
        <a:p>
          <a:endParaRPr lang="en-US"/>
        </a:p>
      </dgm:t>
    </dgm:pt>
    <dgm:pt modelId="{BFC0E547-38ED-4BF5-BBFB-41676C651BA4}">
      <dgm:prSet/>
      <dgm:spPr/>
      <dgm:t>
        <a:bodyPr/>
        <a:lstStyle/>
        <a:p>
          <a:pPr rtl="0"/>
          <a:r>
            <a:rPr lang="en-US" dirty="0" smtClean="0"/>
            <a:t>ASP.NET</a:t>
          </a:r>
          <a:endParaRPr lang="en-US" dirty="0"/>
        </a:p>
      </dgm:t>
    </dgm:pt>
    <dgm:pt modelId="{E3527B9A-8B18-4A98-921F-1E462ED07972}" type="parTrans" cxnId="{709C3368-009F-4231-A3CE-749F9BB189CC}">
      <dgm:prSet/>
      <dgm:spPr/>
      <dgm:t>
        <a:bodyPr/>
        <a:lstStyle/>
        <a:p>
          <a:endParaRPr lang="en-US"/>
        </a:p>
      </dgm:t>
    </dgm:pt>
    <dgm:pt modelId="{E2E33C33-F5A2-45C5-AF56-0BB04A49ABE7}" type="sibTrans" cxnId="{709C3368-009F-4231-A3CE-749F9BB189CC}">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81B22F2D-5B8A-447B-B1AF-78E703F0FBA8}" type="pres">
      <dgm:prSet presAssocID="{ACD2CAE5-6CA8-422A-A552-FA71416125D4}" presName="node" presStyleLbl="node1" presStyleIdx="0"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BFD6C2D9-8EAF-4814-9068-92EC26CD3430}" type="pres">
      <dgm:prSet presAssocID="{17EC96CC-6899-43CC-99D8-2B5B67C93827}" presName="node" presStyleLbl="node1" presStyleIdx="1" presStyleCnt="4">
        <dgm:presLayoutVars>
          <dgm:bulletEnabled val="1"/>
        </dgm:presLayoutVars>
      </dgm:prSet>
      <dgm:spPr/>
      <dgm:t>
        <a:bodyPr/>
        <a:lstStyle/>
        <a:p>
          <a:endParaRPr lang="en-US"/>
        </a:p>
      </dgm:t>
    </dgm:pt>
    <dgm:pt modelId="{EC02AEF8-BB51-41CC-AC54-784DB938A98C}" type="pres">
      <dgm:prSet presAssocID="{1108C22D-D867-484A-A5AB-C27F9AE80D39}" presName="sibTrans" presStyleCnt="0"/>
      <dgm:spPr/>
    </dgm:pt>
    <dgm:pt modelId="{C12961E1-1B5A-4A16-B7D5-F0E2A81007BC}" type="pres">
      <dgm:prSet presAssocID="{BFC0E547-38ED-4BF5-BBFB-41676C651BA4}" presName="node" presStyleLbl="node1" presStyleIdx="2" presStyleCnt="4">
        <dgm:presLayoutVars>
          <dgm:bulletEnabled val="1"/>
        </dgm:presLayoutVars>
      </dgm:prSet>
      <dgm:spPr/>
      <dgm:t>
        <a:bodyPr/>
        <a:lstStyle/>
        <a:p>
          <a:endParaRPr lang="en-US"/>
        </a:p>
      </dgm:t>
    </dgm:pt>
    <dgm:pt modelId="{C30E35A3-FC57-42FA-B43B-70825F5A7012}" type="pres">
      <dgm:prSet presAssocID="{E2E33C33-F5A2-45C5-AF56-0BB04A49ABE7}"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C49FD9FD-EB55-478E-9BF8-7A33842FBAC1}" srcId="{48914873-C460-43A6-8A7F-9F5DC4D43744}" destId="{17EC96CC-6899-43CC-99D8-2B5B67C93827}" srcOrd="1" destOrd="0" parTransId="{19BEF542-9A55-4227-958B-7672C8A3F132}" sibTransId="{1108C22D-D867-484A-A5AB-C27F9AE80D39}"/>
    <dgm:cxn modelId="{E3CCCA85-8AB5-4728-8173-3D84961BEF06}" type="presOf" srcId="{17EC96CC-6899-43CC-99D8-2B5B67C93827}" destId="{BFD6C2D9-8EAF-4814-9068-92EC26CD3430}" srcOrd="0" destOrd="0" presId="urn:microsoft.com/office/officeart/2005/8/layout/default"/>
    <dgm:cxn modelId="{F65A626A-A269-473E-B04A-93779FFFEF71}" type="presOf" srcId="{2E47A735-2E54-47D4-8D7B-43DAE317DE22}" destId="{5222C5B1-7198-4817-8170-EA15671F32D9}" srcOrd="0" destOrd="0" presId="urn:microsoft.com/office/officeart/2005/8/layout/default"/>
    <dgm:cxn modelId="{0E487D11-6FF8-4D31-9674-E34AEC0327EA}" srcId="{48914873-C460-43A6-8A7F-9F5DC4D43744}" destId="{ACD2CAE5-6CA8-422A-A552-FA71416125D4}" srcOrd="0" destOrd="0" parTransId="{1CCBF95C-50B4-4AE2-BF6C-988A97E3766F}" sibTransId="{0EE29A21-DDDC-40E2-8756-7355AC783842}"/>
    <dgm:cxn modelId="{861EB93E-7F61-4DBB-AE51-578DE2F35D75}" type="presOf" srcId="{48914873-C460-43A6-8A7F-9F5DC4D43744}" destId="{17397D43-AE20-4DE6-BB81-F05A7B561DB3}" srcOrd="0" destOrd="0" presId="urn:microsoft.com/office/officeart/2005/8/layout/default"/>
    <dgm:cxn modelId="{709C3368-009F-4231-A3CE-749F9BB189CC}" srcId="{48914873-C460-43A6-8A7F-9F5DC4D43744}" destId="{BFC0E547-38ED-4BF5-BBFB-41676C651BA4}" srcOrd="2" destOrd="0" parTransId="{E3527B9A-8B18-4A98-921F-1E462ED07972}" sibTransId="{E2E33C33-F5A2-45C5-AF56-0BB04A49ABE7}"/>
    <dgm:cxn modelId="{6CA944BB-215C-419D-AB8D-10FFBA28E0EA}" type="presOf" srcId="{ACD2CAE5-6CA8-422A-A552-FA71416125D4}" destId="{81B22F2D-5B8A-447B-B1AF-78E703F0FBA8}" srcOrd="0" destOrd="0" presId="urn:microsoft.com/office/officeart/2005/8/layout/default"/>
    <dgm:cxn modelId="{75C5F2ED-7190-4282-B715-C0BBE049F4E2}" srcId="{48914873-C460-43A6-8A7F-9F5DC4D43744}" destId="{2E47A735-2E54-47D4-8D7B-43DAE317DE22}" srcOrd="3" destOrd="0" parTransId="{935CD182-5494-4B87-A87B-5C526DA1EFD0}" sibTransId="{9F231788-C31F-4B60-A8BF-C2D421D63C19}"/>
    <dgm:cxn modelId="{29DA27AF-0C80-4D5D-A8F5-574A6E87B043}" type="presOf" srcId="{BFC0E547-38ED-4BF5-BBFB-41676C651BA4}" destId="{C12961E1-1B5A-4A16-B7D5-F0E2A81007BC}" srcOrd="0" destOrd="0" presId="urn:microsoft.com/office/officeart/2005/8/layout/default"/>
    <dgm:cxn modelId="{613BEDF6-BD96-4E66-8F1C-797B39D8825F}" type="presParOf" srcId="{17397D43-AE20-4DE6-BB81-F05A7B561DB3}" destId="{81B22F2D-5B8A-447B-B1AF-78E703F0FBA8}" srcOrd="0" destOrd="0" presId="urn:microsoft.com/office/officeart/2005/8/layout/default"/>
    <dgm:cxn modelId="{C6BC07B9-4240-4EE8-894D-42D6E2757770}" type="presParOf" srcId="{17397D43-AE20-4DE6-BB81-F05A7B561DB3}" destId="{06199EA7-9AD7-47F3-B47F-9C74788B88C1}" srcOrd="1" destOrd="0" presId="urn:microsoft.com/office/officeart/2005/8/layout/default"/>
    <dgm:cxn modelId="{E3871E43-0600-4D7E-AFE7-48D416A7C5C5}" type="presParOf" srcId="{17397D43-AE20-4DE6-BB81-F05A7B561DB3}" destId="{BFD6C2D9-8EAF-4814-9068-92EC26CD3430}" srcOrd="2" destOrd="0" presId="urn:microsoft.com/office/officeart/2005/8/layout/default"/>
    <dgm:cxn modelId="{67BBBCBF-054A-41C1-A91A-A808B315F45A}" type="presParOf" srcId="{17397D43-AE20-4DE6-BB81-F05A7B561DB3}" destId="{EC02AEF8-BB51-41CC-AC54-784DB938A98C}" srcOrd="3" destOrd="0" presId="urn:microsoft.com/office/officeart/2005/8/layout/default"/>
    <dgm:cxn modelId="{FA764974-690C-4426-AC36-C15C54DC2397}" type="presParOf" srcId="{17397D43-AE20-4DE6-BB81-F05A7B561DB3}" destId="{C12961E1-1B5A-4A16-B7D5-F0E2A81007BC}" srcOrd="4" destOrd="0" presId="urn:microsoft.com/office/officeart/2005/8/layout/default"/>
    <dgm:cxn modelId="{A36ED7BB-0B9B-4530-A4E1-98492C15954D}" type="presParOf" srcId="{17397D43-AE20-4DE6-BB81-F05A7B561DB3}" destId="{C30E35A3-FC57-42FA-B43B-70825F5A7012}" srcOrd="5" destOrd="0" presId="urn:microsoft.com/office/officeart/2005/8/layout/default"/>
    <dgm:cxn modelId="{8CA1554E-EB76-4FAF-B2A2-C18B97051D7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2A698087-0C77-46BC-BEE3-9DD62B31079B}">
      <dgm:prSet custT="1"/>
      <dgm:spPr/>
      <dgm:t>
        <a:bodyPr/>
        <a:lstStyle/>
        <a:p>
          <a:r>
            <a:rPr lang="en-US" sz="1800" dirty="0" smtClean="0"/>
            <a:t>Introduction to ASP.NET and Visual Studio 2013 Web Tooling</a:t>
          </a:r>
          <a:endParaRPr lang="en-US" sz="1800" dirty="0"/>
        </a:p>
      </dgm:t>
    </dgm:pt>
    <dgm:pt modelId="{545886D5-ECF3-47AB-A738-82363A11B743}" type="parTrans" cxnId="{9732441B-1070-4844-8B23-1F2A5EDFD7DA}">
      <dgm:prSet/>
      <dgm:spPr/>
      <dgm:t>
        <a:bodyPr/>
        <a:lstStyle/>
        <a:p>
          <a:endParaRPr lang="en-US" sz="4000"/>
        </a:p>
      </dgm:t>
    </dgm:pt>
    <dgm:pt modelId="{DF51E2A6-ABF0-49DE-8ADB-388659769540}" type="sibTrans" cxnId="{9732441B-1070-4844-8B23-1F2A5EDFD7DA}">
      <dgm:prSet/>
      <dgm:spPr/>
      <dgm:t>
        <a:bodyPr/>
        <a:lstStyle/>
        <a:p>
          <a:endParaRPr lang="en-US" sz="4000"/>
        </a:p>
      </dgm:t>
    </dgm:pt>
    <dgm:pt modelId="{78E86AF5-BDE7-40A2-BB48-3781EBA8B21E}">
      <dgm:prSet custT="1"/>
      <dgm:spPr/>
      <dgm:t>
        <a:bodyPr/>
        <a:lstStyle/>
        <a:p>
          <a:r>
            <a:rPr lang="en-US" sz="1800" dirty="0" smtClean="0"/>
            <a:t>Building Web Applications using the latest ASP.NET technologies</a:t>
          </a:r>
        </a:p>
      </dgm:t>
    </dgm:pt>
    <dgm:pt modelId="{DBC56DE7-C1BD-405F-AD7B-42A3DC652B9D}" type="parTrans" cxnId="{06EA80B0-E8C3-4C03-A0DB-C92B8A74D9D4}">
      <dgm:prSet/>
      <dgm:spPr/>
      <dgm:t>
        <a:bodyPr/>
        <a:lstStyle/>
        <a:p>
          <a:endParaRPr lang="en-US" sz="4000"/>
        </a:p>
      </dgm:t>
    </dgm:pt>
    <dgm:pt modelId="{185BFB16-8A08-4594-A5EB-21003F37877A}" type="sibTrans" cxnId="{06EA80B0-E8C3-4C03-A0DB-C92B8A74D9D4}">
      <dgm:prSet/>
      <dgm:spPr/>
      <dgm:t>
        <a:bodyPr/>
        <a:lstStyle/>
        <a:p>
          <a:endParaRPr lang="en-US" sz="4000"/>
        </a:p>
      </dgm:t>
    </dgm:pt>
    <dgm:pt modelId="{C21281DC-F931-4E9C-942D-AD3EB61A6EA2}">
      <dgm:prSet custT="1"/>
      <dgm:spPr/>
      <dgm:t>
        <a:bodyPr/>
        <a:lstStyle/>
        <a:p>
          <a:r>
            <a:rPr lang="en-US" sz="1800" dirty="0" smtClean="0"/>
            <a:t>Building web front ends for both desktop and mobile using the latest web standards</a:t>
          </a:r>
        </a:p>
      </dgm:t>
    </dgm:pt>
    <dgm:pt modelId="{CE76D537-E9A7-42C7-A80C-3D5851E6C500}" type="parTrans" cxnId="{F6674D8B-17C7-44AD-9FE9-263237AFB7C8}">
      <dgm:prSet/>
      <dgm:spPr/>
      <dgm:t>
        <a:bodyPr/>
        <a:lstStyle/>
        <a:p>
          <a:endParaRPr lang="en-US" sz="4000"/>
        </a:p>
      </dgm:t>
    </dgm:pt>
    <dgm:pt modelId="{9893ECAB-749E-4545-8A16-72B6B438B424}" type="sibTrans" cxnId="{F6674D8B-17C7-44AD-9FE9-263237AFB7C8}">
      <dgm:prSet/>
      <dgm:spPr/>
      <dgm:t>
        <a:bodyPr/>
        <a:lstStyle/>
        <a:p>
          <a:endParaRPr lang="en-US" sz="4000"/>
        </a:p>
      </dgm:t>
    </dgm:pt>
    <dgm:pt modelId="{68987326-02A7-40EE-8530-CA56E5E2ED4A}">
      <dgm:prSet custT="1"/>
      <dgm:spPr/>
      <dgm:t>
        <a:bodyPr/>
        <a:lstStyle/>
        <a:p>
          <a:r>
            <a:rPr lang="en-US" sz="1800" dirty="0" smtClean="0"/>
            <a:t>API Services for both web and devices</a:t>
          </a:r>
        </a:p>
      </dgm:t>
    </dgm:pt>
    <dgm:pt modelId="{56BA7FF6-9776-4C51-90F5-9AA768DE0298}" type="parTrans" cxnId="{8EA4E683-0AF0-4FB9-B52A-4DD323BB8D99}">
      <dgm:prSet/>
      <dgm:spPr/>
      <dgm:t>
        <a:bodyPr/>
        <a:lstStyle/>
        <a:p>
          <a:endParaRPr lang="en-US" sz="4000"/>
        </a:p>
      </dgm:t>
    </dgm:pt>
    <dgm:pt modelId="{5C8DD0D5-01BB-48A2-9FE5-8F8131767B95}" type="sibTrans" cxnId="{8EA4E683-0AF0-4FB9-B52A-4DD323BB8D99}">
      <dgm:prSet/>
      <dgm:spPr/>
      <dgm:t>
        <a:bodyPr/>
        <a:lstStyle/>
        <a:p>
          <a:endParaRPr lang="en-US" sz="4000"/>
        </a:p>
      </dgm:t>
    </dgm:pt>
    <dgm:pt modelId="{312DE6B4-F0D4-4BC3-A484-5E27BC83857C}">
      <dgm:prSet custT="1"/>
      <dgm:spPr/>
      <dgm:t>
        <a:bodyPr/>
        <a:lstStyle/>
        <a:p>
          <a:r>
            <a:rPr lang="en-US" sz="1800" dirty="0" smtClean="0"/>
            <a:t>Running, improving and maintaining a site in the real world</a:t>
          </a:r>
        </a:p>
      </dgm:t>
    </dgm:pt>
    <dgm:pt modelId="{1EE57FA4-84BD-4211-895C-96AD4EADAFFD}" type="parTrans" cxnId="{B7E08669-60B2-4B2D-9D13-99506069B54A}">
      <dgm:prSet/>
      <dgm:spPr/>
      <dgm:t>
        <a:bodyPr/>
        <a:lstStyle/>
        <a:p>
          <a:endParaRPr lang="en-US" sz="4000"/>
        </a:p>
      </dgm:t>
    </dgm:pt>
    <dgm:pt modelId="{C8EDAA7C-A942-4EE9-85AC-D63CFA73981F}" type="sibTrans" cxnId="{B7E08669-60B2-4B2D-9D13-99506069B54A}">
      <dgm:prSet/>
      <dgm:spPr/>
      <dgm:t>
        <a:bodyPr/>
        <a:lstStyle/>
        <a:p>
          <a:endParaRPr lang="en-US" sz="4000"/>
        </a:p>
      </dgm:t>
    </dgm:pt>
    <dgm:pt modelId="{86A20244-5C10-4D99-A135-EE1FC94007AD}">
      <dgm:prSet custT="1"/>
      <dgm:spPr/>
      <dgm:t>
        <a:bodyPr/>
        <a:lstStyle/>
        <a:p>
          <a:r>
            <a:rPr lang="en-US" sz="1800" dirty="0" smtClean="0"/>
            <a:t>Real-time Communications with SignalR</a:t>
          </a:r>
        </a:p>
      </dgm:t>
    </dgm:pt>
    <dgm:pt modelId="{FE14AF2E-79F5-45B1-95EB-BBC061ED2848}" type="parTrans" cxnId="{AF849700-E68A-447A-B4CD-C55696CF082A}">
      <dgm:prSet/>
      <dgm:spPr/>
      <dgm:t>
        <a:bodyPr/>
        <a:lstStyle/>
        <a:p>
          <a:endParaRPr lang="en-US" sz="4000"/>
        </a:p>
      </dgm:t>
    </dgm:pt>
    <dgm:pt modelId="{2F9B0FED-66DD-4DA5-B56E-BF19210A7B32}" type="sibTrans" cxnId="{AF849700-E68A-447A-B4CD-C55696CF082A}">
      <dgm:prSet/>
      <dgm:spPr/>
      <dgm:t>
        <a:bodyPr/>
        <a:lstStyle/>
        <a:p>
          <a:endParaRPr lang="en-US" sz="4000"/>
        </a:p>
      </dgm:t>
    </dgm:pt>
    <dgm:pt modelId="{3B73ACC1-496C-40F5-B241-D7E8E221BFF7}" type="pres">
      <dgm:prSet presAssocID="{48914873-C460-43A6-8A7F-9F5DC4D43744}" presName="Name0" presStyleCnt="0">
        <dgm:presLayoutVars>
          <dgm:chMax val="7"/>
          <dgm:chPref val="7"/>
          <dgm:dir/>
        </dgm:presLayoutVars>
      </dgm:prSet>
      <dgm:spPr/>
      <dgm:t>
        <a:bodyPr/>
        <a:lstStyle/>
        <a:p>
          <a:endParaRPr lang="en-US"/>
        </a:p>
      </dgm:t>
    </dgm:pt>
    <dgm:pt modelId="{176C12DF-C866-46CE-B755-E0FD9BB684D3}" type="pres">
      <dgm:prSet presAssocID="{48914873-C460-43A6-8A7F-9F5DC4D43744}" presName="Name1" presStyleCnt="0"/>
      <dgm:spPr/>
      <dgm:t>
        <a:bodyPr/>
        <a:lstStyle/>
        <a:p>
          <a:endParaRPr lang="en-US"/>
        </a:p>
      </dgm:t>
    </dgm:pt>
    <dgm:pt modelId="{FABF9950-43BA-4F8E-8D7D-4C0B1CA90765}" type="pres">
      <dgm:prSet presAssocID="{48914873-C460-43A6-8A7F-9F5DC4D43744}" presName="cycle" presStyleCnt="0"/>
      <dgm:spPr/>
      <dgm:t>
        <a:bodyPr/>
        <a:lstStyle/>
        <a:p>
          <a:endParaRPr lang="en-US"/>
        </a:p>
      </dgm:t>
    </dgm:pt>
    <dgm:pt modelId="{A82FF449-D38B-45D7-9B32-0E93451CA53E}" type="pres">
      <dgm:prSet presAssocID="{48914873-C460-43A6-8A7F-9F5DC4D43744}" presName="srcNode" presStyleLbl="node1" presStyleIdx="0" presStyleCnt="6"/>
      <dgm:spPr/>
      <dgm:t>
        <a:bodyPr/>
        <a:lstStyle/>
        <a:p>
          <a:endParaRPr lang="en-US"/>
        </a:p>
      </dgm:t>
    </dgm:pt>
    <dgm:pt modelId="{C88AC33A-9E7B-48FE-AA69-CF0915BA28B4}" type="pres">
      <dgm:prSet presAssocID="{48914873-C460-43A6-8A7F-9F5DC4D43744}" presName="conn" presStyleLbl="parChTrans1D2" presStyleIdx="0" presStyleCnt="1"/>
      <dgm:spPr/>
      <dgm:t>
        <a:bodyPr/>
        <a:lstStyle/>
        <a:p>
          <a:endParaRPr lang="en-US"/>
        </a:p>
      </dgm:t>
    </dgm:pt>
    <dgm:pt modelId="{8CA4C0E1-81F8-4CF3-9F9F-8F74AB1DFFA6}" type="pres">
      <dgm:prSet presAssocID="{48914873-C460-43A6-8A7F-9F5DC4D43744}" presName="extraNode" presStyleLbl="node1" presStyleIdx="0" presStyleCnt="6"/>
      <dgm:spPr/>
      <dgm:t>
        <a:bodyPr/>
        <a:lstStyle/>
        <a:p>
          <a:endParaRPr lang="en-US"/>
        </a:p>
      </dgm:t>
    </dgm:pt>
    <dgm:pt modelId="{A169A3DF-3482-4DB4-A369-65C9EACA0A7B}" type="pres">
      <dgm:prSet presAssocID="{48914873-C460-43A6-8A7F-9F5DC4D43744}" presName="dstNode" presStyleLbl="node1" presStyleIdx="0" presStyleCnt="6"/>
      <dgm:spPr/>
      <dgm:t>
        <a:bodyPr/>
        <a:lstStyle/>
        <a:p>
          <a:endParaRPr lang="en-US"/>
        </a:p>
      </dgm:t>
    </dgm:pt>
    <dgm:pt modelId="{458817C7-6BEC-45B3-895F-78F93D5B61B1}" type="pres">
      <dgm:prSet presAssocID="{2A698087-0C77-46BC-BEE3-9DD62B31079B}" presName="text_1" presStyleLbl="node1" presStyleIdx="0" presStyleCnt="6">
        <dgm:presLayoutVars>
          <dgm:bulletEnabled val="1"/>
        </dgm:presLayoutVars>
      </dgm:prSet>
      <dgm:spPr/>
      <dgm:t>
        <a:bodyPr/>
        <a:lstStyle/>
        <a:p>
          <a:endParaRPr lang="en-US"/>
        </a:p>
      </dgm:t>
    </dgm:pt>
    <dgm:pt modelId="{4CF5327E-7ADA-4CC4-AD60-4CEC17A9BD9F}" type="pres">
      <dgm:prSet presAssocID="{2A698087-0C77-46BC-BEE3-9DD62B31079B}" presName="accent_1" presStyleCnt="0"/>
      <dgm:spPr/>
      <dgm:t>
        <a:bodyPr/>
        <a:lstStyle/>
        <a:p>
          <a:endParaRPr lang="en-US"/>
        </a:p>
      </dgm:t>
    </dgm:pt>
    <dgm:pt modelId="{C17F0E81-FCDB-4D98-9E05-3DD956F33DB3}" type="pres">
      <dgm:prSet presAssocID="{2A698087-0C77-46BC-BEE3-9DD62B31079B}" presName="accentRepeatNode" presStyleLbl="solidFgAcc1" presStyleIdx="0" presStyleCnt="6"/>
      <dgm:spPr/>
      <dgm:t>
        <a:bodyPr/>
        <a:lstStyle/>
        <a:p>
          <a:endParaRPr lang="en-US"/>
        </a:p>
      </dgm:t>
    </dgm:pt>
    <dgm:pt modelId="{B710CF74-13DC-491D-8AA7-EE713AB0A121}" type="pres">
      <dgm:prSet presAssocID="{78E86AF5-BDE7-40A2-BB48-3781EBA8B21E}" presName="text_2" presStyleLbl="node1" presStyleIdx="1" presStyleCnt="6">
        <dgm:presLayoutVars>
          <dgm:bulletEnabled val="1"/>
        </dgm:presLayoutVars>
      </dgm:prSet>
      <dgm:spPr/>
      <dgm:t>
        <a:bodyPr/>
        <a:lstStyle/>
        <a:p>
          <a:endParaRPr lang="en-US"/>
        </a:p>
      </dgm:t>
    </dgm:pt>
    <dgm:pt modelId="{597811AA-61D6-4E7B-8D2E-77955D747DB3}" type="pres">
      <dgm:prSet presAssocID="{78E86AF5-BDE7-40A2-BB48-3781EBA8B21E}" presName="accent_2" presStyleCnt="0"/>
      <dgm:spPr/>
      <dgm:t>
        <a:bodyPr/>
        <a:lstStyle/>
        <a:p>
          <a:endParaRPr lang="en-US"/>
        </a:p>
      </dgm:t>
    </dgm:pt>
    <dgm:pt modelId="{E359BF74-4EAA-4A84-851E-79427ACA3040}" type="pres">
      <dgm:prSet presAssocID="{78E86AF5-BDE7-40A2-BB48-3781EBA8B21E}" presName="accentRepeatNode" presStyleLbl="solidFgAcc1" presStyleIdx="1" presStyleCnt="6"/>
      <dgm:spPr/>
      <dgm:t>
        <a:bodyPr/>
        <a:lstStyle/>
        <a:p>
          <a:endParaRPr lang="en-US"/>
        </a:p>
      </dgm:t>
    </dgm:pt>
    <dgm:pt modelId="{F4DCD2E3-C30A-4106-8870-66D02E4ED2D8}" type="pres">
      <dgm:prSet presAssocID="{C21281DC-F931-4E9C-942D-AD3EB61A6EA2}" presName="text_3" presStyleLbl="node1" presStyleIdx="2" presStyleCnt="6">
        <dgm:presLayoutVars>
          <dgm:bulletEnabled val="1"/>
        </dgm:presLayoutVars>
      </dgm:prSet>
      <dgm:spPr/>
      <dgm:t>
        <a:bodyPr/>
        <a:lstStyle/>
        <a:p>
          <a:endParaRPr lang="en-US"/>
        </a:p>
      </dgm:t>
    </dgm:pt>
    <dgm:pt modelId="{03423D67-10DD-493A-B3D4-FAB412D14189}" type="pres">
      <dgm:prSet presAssocID="{C21281DC-F931-4E9C-942D-AD3EB61A6EA2}" presName="accent_3" presStyleCnt="0"/>
      <dgm:spPr/>
      <dgm:t>
        <a:bodyPr/>
        <a:lstStyle/>
        <a:p>
          <a:endParaRPr lang="en-US"/>
        </a:p>
      </dgm:t>
    </dgm:pt>
    <dgm:pt modelId="{CCABAEA6-84A7-43B2-AE3E-AA77E44737BE}" type="pres">
      <dgm:prSet presAssocID="{C21281DC-F931-4E9C-942D-AD3EB61A6EA2}" presName="accentRepeatNode" presStyleLbl="solidFgAcc1" presStyleIdx="2" presStyleCnt="6"/>
      <dgm:spPr/>
      <dgm:t>
        <a:bodyPr/>
        <a:lstStyle/>
        <a:p>
          <a:endParaRPr lang="en-US"/>
        </a:p>
      </dgm:t>
    </dgm:pt>
    <dgm:pt modelId="{C6D19E84-6DD9-43A3-921E-AC3C76D4EF46}" type="pres">
      <dgm:prSet presAssocID="{68987326-02A7-40EE-8530-CA56E5E2ED4A}" presName="text_4" presStyleLbl="node1" presStyleIdx="3" presStyleCnt="6">
        <dgm:presLayoutVars>
          <dgm:bulletEnabled val="1"/>
        </dgm:presLayoutVars>
      </dgm:prSet>
      <dgm:spPr/>
      <dgm:t>
        <a:bodyPr/>
        <a:lstStyle/>
        <a:p>
          <a:endParaRPr lang="en-US"/>
        </a:p>
      </dgm:t>
    </dgm:pt>
    <dgm:pt modelId="{C6B2E0BF-57C1-44DB-988E-12F84713BA6A}" type="pres">
      <dgm:prSet presAssocID="{68987326-02A7-40EE-8530-CA56E5E2ED4A}" presName="accent_4" presStyleCnt="0"/>
      <dgm:spPr/>
      <dgm:t>
        <a:bodyPr/>
        <a:lstStyle/>
        <a:p>
          <a:endParaRPr lang="en-US"/>
        </a:p>
      </dgm:t>
    </dgm:pt>
    <dgm:pt modelId="{D2B54007-1114-44EF-8EEA-3E6760D3169D}" type="pres">
      <dgm:prSet presAssocID="{68987326-02A7-40EE-8530-CA56E5E2ED4A}" presName="accentRepeatNode" presStyleLbl="solidFgAcc1" presStyleIdx="3" presStyleCnt="6"/>
      <dgm:spPr/>
      <dgm:t>
        <a:bodyPr/>
        <a:lstStyle/>
        <a:p>
          <a:endParaRPr lang="en-US"/>
        </a:p>
      </dgm:t>
    </dgm:pt>
    <dgm:pt modelId="{537CCD8C-EC29-4A94-81A7-0B4E010ADBB1}" type="pres">
      <dgm:prSet presAssocID="{312DE6B4-F0D4-4BC3-A484-5E27BC83857C}" presName="text_5" presStyleLbl="node1" presStyleIdx="4" presStyleCnt="6">
        <dgm:presLayoutVars>
          <dgm:bulletEnabled val="1"/>
        </dgm:presLayoutVars>
      </dgm:prSet>
      <dgm:spPr/>
      <dgm:t>
        <a:bodyPr/>
        <a:lstStyle/>
        <a:p>
          <a:endParaRPr lang="en-US"/>
        </a:p>
      </dgm:t>
    </dgm:pt>
    <dgm:pt modelId="{2775DD63-EA6D-4F28-A237-177AEDBED3BA}" type="pres">
      <dgm:prSet presAssocID="{312DE6B4-F0D4-4BC3-A484-5E27BC83857C}" presName="accent_5" presStyleCnt="0"/>
      <dgm:spPr/>
      <dgm:t>
        <a:bodyPr/>
        <a:lstStyle/>
        <a:p>
          <a:endParaRPr lang="en-US"/>
        </a:p>
      </dgm:t>
    </dgm:pt>
    <dgm:pt modelId="{9DACB2D5-EADA-42FB-807E-695C820FD52F}" type="pres">
      <dgm:prSet presAssocID="{312DE6B4-F0D4-4BC3-A484-5E27BC83857C}" presName="accentRepeatNode" presStyleLbl="solidFgAcc1" presStyleIdx="4" presStyleCnt="6"/>
      <dgm:spPr/>
      <dgm:t>
        <a:bodyPr/>
        <a:lstStyle/>
        <a:p>
          <a:endParaRPr lang="en-US"/>
        </a:p>
      </dgm:t>
    </dgm:pt>
    <dgm:pt modelId="{3CDC6EAF-654A-40F3-B5C2-E5916E974EC3}" type="pres">
      <dgm:prSet presAssocID="{86A20244-5C10-4D99-A135-EE1FC94007AD}" presName="text_6" presStyleLbl="node1" presStyleIdx="5" presStyleCnt="6">
        <dgm:presLayoutVars>
          <dgm:bulletEnabled val="1"/>
        </dgm:presLayoutVars>
      </dgm:prSet>
      <dgm:spPr/>
      <dgm:t>
        <a:bodyPr/>
        <a:lstStyle/>
        <a:p>
          <a:endParaRPr lang="en-US"/>
        </a:p>
      </dgm:t>
    </dgm:pt>
    <dgm:pt modelId="{21C48A64-174B-48FC-BB5E-A8F8A2730864}" type="pres">
      <dgm:prSet presAssocID="{86A20244-5C10-4D99-A135-EE1FC94007AD}" presName="accent_6" presStyleCnt="0"/>
      <dgm:spPr/>
      <dgm:t>
        <a:bodyPr/>
        <a:lstStyle/>
        <a:p>
          <a:endParaRPr lang="en-US"/>
        </a:p>
      </dgm:t>
    </dgm:pt>
    <dgm:pt modelId="{0890763D-4DAB-412B-8174-6F5ADECA768A}" type="pres">
      <dgm:prSet presAssocID="{86A20244-5C10-4D99-A135-EE1FC94007AD}" presName="accentRepeatNode" presStyleLbl="solidFgAcc1" presStyleIdx="5" presStyleCnt="6"/>
      <dgm:spPr/>
      <dgm:t>
        <a:bodyPr/>
        <a:lstStyle/>
        <a:p>
          <a:endParaRPr lang="en-US"/>
        </a:p>
      </dgm:t>
    </dgm:pt>
  </dgm:ptLst>
  <dgm:cxnLst>
    <dgm:cxn modelId="{B7E08669-60B2-4B2D-9D13-99506069B54A}" srcId="{48914873-C460-43A6-8A7F-9F5DC4D43744}" destId="{312DE6B4-F0D4-4BC3-A484-5E27BC83857C}" srcOrd="4" destOrd="0" parTransId="{1EE57FA4-84BD-4211-895C-96AD4EADAFFD}" sibTransId="{C8EDAA7C-A942-4EE9-85AC-D63CFA73981F}"/>
    <dgm:cxn modelId="{9732441B-1070-4844-8B23-1F2A5EDFD7DA}" srcId="{48914873-C460-43A6-8A7F-9F5DC4D43744}" destId="{2A698087-0C77-46BC-BEE3-9DD62B31079B}" srcOrd="0" destOrd="0" parTransId="{545886D5-ECF3-47AB-A738-82363A11B743}" sibTransId="{DF51E2A6-ABF0-49DE-8ADB-388659769540}"/>
    <dgm:cxn modelId="{84F558AD-3CEE-4264-99AA-B0ACD9FAF4AC}" type="presOf" srcId="{78E86AF5-BDE7-40A2-BB48-3781EBA8B21E}" destId="{B710CF74-13DC-491D-8AA7-EE713AB0A121}" srcOrd="0" destOrd="0" presId="urn:microsoft.com/office/officeart/2008/layout/VerticalCurvedList"/>
    <dgm:cxn modelId="{AC976CB2-1B6A-40BC-B27B-643BA912EC1F}" type="presOf" srcId="{86A20244-5C10-4D99-A135-EE1FC94007AD}" destId="{3CDC6EAF-654A-40F3-B5C2-E5916E974EC3}" srcOrd="0" destOrd="0" presId="urn:microsoft.com/office/officeart/2008/layout/VerticalCurvedList"/>
    <dgm:cxn modelId="{8EA4E683-0AF0-4FB9-B52A-4DD323BB8D99}" srcId="{48914873-C460-43A6-8A7F-9F5DC4D43744}" destId="{68987326-02A7-40EE-8530-CA56E5E2ED4A}" srcOrd="3" destOrd="0" parTransId="{56BA7FF6-9776-4C51-90F5-9AA768DE0298}" sibTransId="{5C8DD0D5-01BB-48A2-9FE5-8F8131767B95}"/>
    <dgm:cxn modelId="{9C5CE53D-DA31-4BC6-9391-BA308C57CAEE}" type="presOf" srcId="{48914873-C460-43A6-8A7F-9F5DC4D43744}" destId="{3B73ACC1-496C-40F5-B241-D7E8E221BFF7}" srcOrd="0" destOrd="0" presId="urn:microsoft.com/office/officeart/2008/layout/VerticalCurvedList"/>
    <dgm:cxn modelId="{EA1D3AFC-1C1E-429B-AE2D-B05F3F7F59CF}" type="presOf" srcId="{DF51E2A6-ABF0-49DE-8ADB-388659769540}" destId="{C88AC33A-9E7B-48FE-AA69-CF0915BA28B4}" srcOrd="0" destOrd="0" presId="urn:microsoft.com/office/officeart/2008/layout/VerticalCurvedList"/>
    <dgm:cxn modelId="{43084F21-5AEB-4309-9A04-2B594CA57D90}" type="presOf" srcId="{C21281DC-F931-4E9C-942D-AD3EB61A6EA2}" destId="{F4DCD2E3-C30A-4106-8870-66D02E4ED2D8}" srcOrd="0" destOrd="0" presId="urn:microsoft.com/office/officeart/2008/layout/VerticalCurvedList"/>
    <dgm:cxn modelId="{F6674D8B-17C7-44AD-9FE9-263237AFB7C8}" srcId="{48914873-C460-43A6-8A7F-9F5DC4D43744}" destId="{C21281DC-F931-4E9C-942D-AD3EB61A6EA2}" srcOrd="2" destOrd="0" parTransId="{CE76D537-E9A7-42C7-A80C-3D5851E6C500}" sibTransId="{9893ECAB-749E-4545-8A16-72B6B438B424}"/>
    <dgm:cxn modelId="{23417440-9C51-49DE-BA19-47C841CCB655}" type="presOf" srcId="{68987326-02A7-40EE-8530-CA56E5E2ED4A}" destId="{C6D19E84-6DD9-43A3-921E-AC3C76D4EF46}" srcOrd="0" destOrd="0" presId="urn:microsoft.com/office/officeart/2008/layout/VerticalCurvedList"/>
    <dgm:cxn modelId="{AF849700-E68A-447A-B4CD-C55696CF082A}" srcId="{48914873-C460-43A6-8A7F-9F5DC4D43744}" destId="{86A20244-5C10-4D99-A135-EE1FC94007AD}" srcOrd="5" destOrd="0" parTransId="{FE14AF2E-79F5-45B1-95EB-BBC061ED2848}" sibTransId="{2F9B0FED-66DD-4DA5-B56E-BF19210A7B32}"/>
    <dgm:cxn modelId="{440B84C4-E5E7-4AB1-84EB-F3703F958FD3}" type="presOf" srcId="{2A698087-0C77-46BC-BEE3-9DD62B31079B}" destId="{458817C7-6BEC-45B3-895F-78F93D5B61B1}" srcOrd="0" destOrd="0" presId="urn:microsoft.com/office/officeart/2008/layout/VerticalCurvedList"/>
    <dgm:cxn modelId="{06EA80B0-E8C3-4C03-A0DB-C92B8A74D9D4}" srcId="{48914873-C460-43A6-8A7F-9F5DC4D43744}" destId="{78E86AF5-BDE7-40A2-BB48-3781EBA8B21E}" srcOrd="1" destOrd="0" parTransId="{DBC56DE7-C1BD-405F-AD7B-42A3DC652B9D}" sibTransId="{185BFB16-8A08-4594-A5EB-21003F37877A}"/>
    <dgm:cxn modelId="{340C1A1B-EEC7-4E14-9B62-791D4166C8ED}" type="presOf" srcId="{312DE6B4-F0D4-4BC3-A484-5E27BC83857C}" destId="{537CCD8C-EC29-4A94-81A7-0B4E010ADBB1}" srcOrd="0" destOrd="0" presId="urn:microsoft.com/office/officeart/2008/layout/VerticalCurvedList"/>
    <dgm:cxn modelId="{3851534E-6B06-4211-9902-858A51CB2CC5}" type="presParOf" srcId="{3B73ACC1-496C-40F5-B241-D7E8E221BFF7}" destId="{176C12DF-C866-46CE-B755-E0FD9BB684D3}" srcOrd="0" destOrd="0" presId="urn:microsoft.com/office/officeart/2008/layout/VerticalCurvedList"/>
    <dgm:cxn modelId="{0FF9DD99-D02F-4CD6-9DF2-C1D13FE9A102}" type="presParOf" srcId="{176C12DF-C866-46CE-B755-E0FD9BB684D3}" destId="{FABF9950-43BA-4F8E-8D7D-4C0B1CA90765}" srcOrd="0" destOrd="0" presId="urn:microsoft.com/office/officeart/2008/layout/VerticalCurvedList"/>
    <dgm:cxn modelId="{179693B5-2303-4524-8983-783806D25613}" type="presParOf" srcId="{FABF9950-43BA-4F8E-8D7D-4C0B1CA90765}" destId="{A82FF449-D38B-45D7-9B32-0E93451CA53E}" srcOrd="0" destOrd="0" presId="urn:microsoft.com/office/officeart/2008/layout/VerticalCurvedList"/>
    <dgm:cxn modelId="{2E6233C2-F2AD-4CF5-B6C2-BCB105680A56}" type="presParOf" srcId="{FABF9950-43BA-4F8E-8D7D-4C0B1CA90765}" destId="{C88AC33A-9E7B-48FE-AA69-CF0915BA28B4}" srcOrd="1" destOrd="0" presId="urn:microsoft.com/office/officeart/2008/layout/VerticalCurvedList"/>
    <dgm:cxn modelId="{DA45408E-BB7A-4CE2-8EE6-E097A9D09CB6}" type="presParOf" srcId="{FABF9950-43BA-4F8E-8D7D-4C0B1CA90765}" destId="{8CA4C0E1-81F8-4CF3-9F9F-8F74AB1DFFA6}" srcOrd="2" destOrd="0" presId="urn:microsoft.com/office/officeart/2008/layout/VerticalCurvedList"/>
    <dgm:cxn modelId="{353ECBCC-43FF-433E-BD0C-FB96D3537DC6}" type="presParOf" srcId="{FABF9950-43BA-4F8E-8D7D-4C0B1CA90765}" destId="{A169A3DF-3482-4DB4-A369-65C9EACA0A7B}" srcOrd="3" destOrd="0" presId="urn:microsoft.com/office/officeart/2008/layout/VerticalCurvedList"/>
    <dgm:cxn modelId="{12CE309D-A270-4829-B6E5-255C74125CD6}" type="presParOf" srcId="{176C12DF-C866-46CE-B755-E0FD9BB684D3}" destId="{458817C7-6BEC-45B3-895F-78F93D5B61B1}" srcOrd="1" destOrd="0" presId="urn:microsoft.com/office/officeart/2008/layout/VerticalCurvedList"/>
    <dgm:cxn modelId="{5A9CD637-F4F5-45C5-B707-7A41DFEA1121}" type="presParOf" srcId="{176C12DF-C866-46CE-B755-E0FD9BB684D3}" destId="{4CF5327E-7ADA-4CC4-AD60-4CEC17A9BD9F}" srcOrd="2" destOrd="0" presId="urn:microsoft.com/office/officeart/2008/layout/VerticalCurvedList"/>
    <dgm:cxn modelId="{7B390D0D-4B16-4B04-9B73-85FDAC7E96B2}" type="presParOf" srcId="{4CF5327E-7ADA-4CC4-AD60-4CEC17A9BD9F}" destId="{C17F0E81-FCDB-4D98-9E05-3DD956F33DB3}" srcOrd="0" destOrd="0" presId="urn:microsoft.com/office/officeart/2008/layout/VerticalCurvedList"/>
    <dgm:cxn modelId="{137B5896-5B13-4C1E-BE6B-D7B7ED711823}" type="presParOf" srcId="{176C12DF-C866-46CE-B755-E0FD9BB684D3}" destId="{B710CF74-13DC-491D-8AA7-EE713AB0A121}" srcOrd="3" destOrd="0" presId="urn:microsoft.com/office/officeart/2008/layout/VerticalCurvedList"/>
    <dgm:cxn modelId="{585D767A-736F-4D21-AA10-1009F6125AB9}" type="presParOf" srcId="{176C12DF-C866-46CE-B755-E0FD9BB684D3}" destId="{597811AA-61D6-4E7B-8D2E-77955D747DB3}" srcOrd="4" destOrd="0" presId="urn:microsoft.com/office/officeart/2008/layout/VerticalCurvedList"/>
    <dgm:cxn modelId="{548358B2-47B4-440A-9B09-3E20A827A7F7}" type="presParOf" srcId="{597811AA-61D6-4E7B-8D2E-77955D747DB3}" destId="{E359BF74-4EAA-4A84-851E-79427ACA3040}" srcOrd="0" destOrd="0" presId="urn:microsoft.com/office/officeart/2008/layout/VerticalCurvedList"/>
    <dgm:cxn modelId="{AC9EFE14-B27A-4370-AC4C-89D68B24437C}" type="presParOf" srcId="{176C12DF-C866-46CE-B755-E0FD9BB684D3}" destId="{F4DCD2E3-C30A-4106-8870-66D02E4ED2D8}" srcOrd="5" destOrd="0" presId="urn:microsoft.com/office/officeart/2008/layout/VerticalCurvedList"/>
    <dgm:cxn modelId="{827F6C85-79FE-4B91-87BB-0B9A64A2D9A3}" type="presParOf" srcId="{176C12DF-C866-46CE-B755-E0FD9BB684D3}" destId="{03423D67-10DD-493A-B3D4-FAB412D14189}" srcOrd="6" destOrd="0" presId="urn:microsoft.com/office/officeart/2008/layout/VerticalCurvedList"/>
    <dgm:cxn modelId="{A7C47B85-9896-4FC8-B004-EAA655298711}" type="presParOf" srcId="{03423D67-10DD-493A-B3D4-FAB412D14189}" destId="{CCABAEA6-84A7-43B2-AE3E-AA77E44737BE}" srcOrd="0" destOrd="0" presId="urn:microsoft.com/office/officeart/2008/layout/VerticalCurvedList"/>
    <dgm:cxn modelId="{8BCA7278-C68D-43DA-8FBF-1432184AFA1B}" type="presParOf" srcId="{176C12DF-C866-46CE-B755-E0FD9BB684D3}" destId="{C6D19E84-6DD9-43A3-921E-AC3C76D4EF46}" srcOrd="7" destOrd="0" presId="urn:microsoft.com/office/officeart/2008/layout/VerticalCurvedList"/>
    <dgm:cxn modelId="{CEE30D47-48C1-4AAB-81E3-E65F04B4F963}" type="presParOf" srcId="{176C12DF-C866-46CE-B755-E0FD9BB684D3}" destId="{C6B2E0BF-57C1-44DB-988E-12F84713BA6A}" srcOrd="8" destOrd="0" presId="urn:microsoft.com/office/officeart/2008/layout/VerticalCurvedList"/>
    <dgm:cxn modelId="{564A0BD5-7809-4707-97CF-A5FCEE401777}" type="presParOf" srcId="{C6B2E0BF-57C1-44DB-988E-12F84713BA6A}" destId="{D2B54007-1114-44EF-8EEA-3E6760D3169D}" srcOrd="0" destOrd="0" presId="urn:microsoft.com/office/officeart/2008/layout/VerticalCurvedList"/>
    <dgm:cxn modelId="{E5399BD7-9929-4B70-8C4F-B172C66571B9}" type="presParOf" srcId="{176C12DF-C866-46CE-B755-E0FD9BB684D3}" destId="{537CCD8C-EC29-4A94-81A7-0B4E010ADBB1}" srcOrd="9" destOrd="0" presId="urn:microsoft.com/office/officeart/2008/layout/VerticalCurvedList"/>
    <dgm:cxn modelId="{E3C44B6D-318B-4A3B-BBD3-852855D6C5C4}" type="presParOf" srcId="{176C12DF-C866-46CE-B755-E0FD9BB684D3}" destId="{2775DD63-EA6D-4F28-A237-177AEDBED3BA}" srcOrd="10" destOrd="0" presId="urn:microsoft.com/office/officeart/2008/layout/VerticalCurvedList"/>
    <dgm:cxn modelId="{E57A7765-AACF-40D7-B8FF-6C7BBEB28264}" type="presParOf" srcId="{2775DD63-EA6D-4F28-A237-177AEDBED3BA}" destId="{9DACB2D5-EADA-42FB-807E-695C820FD52F}" srcOrd="0" destOrd="0" presId="urn:microsoft.com/office/officeart/2008/layout/VerticalCurvedList"/>
    <dgm:cxn modelId="{C8057D9C-8778-4698-87A4-C007C62FE507}" type="presParOf" srcId="{176C12DF-C866-46CE-B755-E0FD9BB684D3}" destId="{3CDC6EAF-654A-40F3-B5C2-E5916E974EC3}" srcOrd="11" destOrd="0" presId="urn:microsoft.com/office/officeart/2008/layout/VerticalCurvedList"/>
    <dgm:cxn modelId="{8EC53E13-550C-4C87-A6FA-B8F0C79EDF1F}" type="presParOf" srcId="{176C12DF-C866-46CE-B755-E0FD9BB684D3}" destId="{21C48A64-174B-48FC-BB5E-A8F8A2730864}" srcOrd="12" destOrd="0" presId="urn:microsoft.com/office/officeart/2008/layout/VerticalCurvedList"/>
    <dgm:cxn modelId="{03D80929-91CF-47D3-B085-3FDDAB6BB4EC}" type="presParOf" srcId="{21C48A64-174B-48FC-BB5E-A8F8A2730864}" destId="{0890763D-4DAB-412B-8174-6F5ADECA768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22F2D-5B8A-447B-B1AF-78E703F0FBA8}">
      <dsp:nvSpPr>
        <dsp:cNvPr id="0" name=""/>
        <dsp:cNvSpPr/>
      </dsp:nvSpPr>
      <dsp:spPr>
        <a:xfrm>
          <a:off x="3266" y="164864"/>
          <a:ext cx="2591274" cy="155476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Visual Studio</a:t>
          </a:r>
          <a:endParaRPr lang="en-US" sz="4000" kern="1200" dirty="0"/>
        </a:p>
      </dsp:txBody>
      <dsp:txXfrm>
        <a:off x="3266" y="164864"/>
        <a:ext cx="2591274" cy="1554764"/>
      </dsp:txXfrm>
    </dsp:sp>
    <dsp:sp modelId="{BFD6C2D9-8EAF-4814-9068-92EC26CD3430}">
      <dsp:nvSpPr>
        <dsp:cNvPr id="0" name=""/>
        <dsp:cNvSpPr/>
      </dsp:nvSpPr>
      <dsp:spPr>
        <a:xfrm>
          <a:off x="2853668" y="164864"/>
          <a:ext cx="2591274" cy="1554764"/>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NuGet</a:t>
          </a:r>
          <a:endParaRPr lang="en-US" sz="4000" kern="1200" dirty="0"/>
        </a:p>
      </dsp:txBody>
      <dsp:txXfrm>
        <a:off x="2853668" y="164864"/>
        <a:ext cx="2591274" cy="1554764"/>
      </dsp:txXfrm>
    </dsp:sp>
    <dsp:sp modelId="{C12961E1-1B5A-4A16-B7D5-F0E2A81007BC}">
      <dsp:nvSpPr>
        <dsp:cNvPr id="0" name=""/>
        <dsp:cNvSpPr/>
      </dsp:nvSpPr>
      <dsp:spPr>
        <a:xfrm>
          <a:off x="5704070" y="164864"/>
          <a:ext cx="2591274" cy="1554764"/>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dirty="0" smtClean="0"/>
            <a:t>ASP.NET</a:t>
          </a:r>
          <a:endParaRPr lang="en-US" sz="4000" kern="1200" dirty="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dirty="0" smtClean="0"/>
            <a:t>Microsoft </a:t>
          </a:r>
          <a:r>
            <a:rPr lang="en-US" sz="4000" kern="1200" baseline="0" dirty="0" smtClean="0"/>
            <a:t>Azure</a:t>
          </a:r>
          <a:endParaRPr lang="en-US" sz="4000" kern="1200" dirty="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AC33A-9E7B-48FE-AA69-CF0915BA28B4}">
      <dsp:nvSpPr>
        <dsp:cNvPr id="0" name=""/>
        <dsp:cNvSpPr/>
      </dsp:nvSpPr>
      <dsp:spPr>
        <a:xfrm>
          <a:off x="-5638449" y="-863140"/>
          <a:ext cx="6713147" cy="6713147"/>
        </a:xfrm>
        <a:prstGeom prst="blockArc">
          <a:avLst>
            <a:gd name="adj1" fmla="val 18900000"/>
            <a:gd name="adj2" fmla="val 2700000"/>
            <a:gd name="adj3" fmla="val 322"/>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817C7-6BEC-45B3-895F-78F93D5B61B1}">
      <dsp:nvSpPr>
        <dsp:cNvPr id="0" name=""/>
        <dsp:cNvSpPr/>
      </dsp:nvSpPr>
      <dsp:spPr>
        <a:xfrm>
          <a:off x="400499" y="262608"/>
          <a:ext cx="10678751" cy="52501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Introduction to ASP.NET and Visual Studio 2013 Web Tooling</a:t>
          </a:r>
          <a:endParaRPr lang="en-US" sz="1800" kern="1200" dirty="0"/>
        </a:p>
      </dsp:txBody>
      <dsp:txXfrm>
        <a:off x="400499" y="262608"/>
        <a:ext cx="10678751" cy="525017"/>
      </dsp:txXfrm>
    </dsp:sp>
    <dsp:sp modelId="{C17F0E81-FCDB-4D98-9E05-3DD956F33DB3}">
      <dsp:nvSpPr>
        <dsp:cNvPr id="0" name=""/>
        <dsp:cNvSpPr/>
      </dsp:nvSpPr>
      <dsp:spPr>
        <a:xfrm>
          <a:off x="72363" y="196981"/>
          <a:ext cx="656271" cy="65627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710CF74-13DC-491D-8AA7-EE713AB0A121}">
      <dsp:nvSpPr>
        <dsp:cNvPr id="0" name=""/>
        <dsp:cNvSpPr/>
      </dsp:nvSpPr>
      <dsp:spPr>
        <a:xfrm>
          <a:off x="832361" y="1050034"/>
          <a:ext cx="10246888" cy="525017"/>
        </a:xfrm>
        <a:prstGeom prst="rect">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Applications using the latest ASP.NET technologies</a:t>
          </a:r>
        </a:p>
      </dsp:txBody>
      <dsp:txXfrm>
        <a:off x="832361" y="1050034"/>
        <a:ext cx="10246888" cy="525017"/>
      </dsp:txXfrm>
    </dsp:sp>
    <dsp:sp modelId="{E359BF74-4EAA-4A84-851E-79427ACA3040}">
      <dsp:nvSpPr>
        <dsp:cNvPr id="0" name=""/>
        <dsp:cNvSpPr/>
      </dsp:nvSpPr>
      <dsp:spPr>
        <a:xfrm>
          <a:off x="504226" y="984407"/>
          <a:ext cx="656271" cy="656271"/>
        </a:xfrm>
        <a:prstGeom prst="ellipse">
          <a:avLst/>
        </a:prstGeom>
        <a:solidFill>
          <a:schemeClr val="lt1">
            <a:hueOff val="0"/>
            <a:satOff val="0"/>
            <a:lumOff val="0"/>
            <a:alphaOff val="0"/>
          </a:schemeClr>
        </a:solidFill>
        <a:ln w="12700" cap="flat" cmpd="sng" algn="ctr">
          <a:solidFill>
            <a:schemeClr val="accent5">
              <a:hueOff val="-1470669"/>
              <a:satOff val="-2046"/>
              <a:lumOff val="-7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DCD2E3-C30A-4106-8870-66D02E4ED2D8}">
      <dsp:nvSpPr>
        <dsp:cNvPr id="0" name=""/>
        <dsp:cNvSpPr/>
      </dsp:nvSpPr>
      <dsp:spPr>
        <a:xfrm>
          <a:off x="1029841" y="1837460"/>
          <a:ext cx="10049409" cy="525017"/>
        </a:xfrm>
        <a:prstGeom prst="rect">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Building web front ends for both desktop and mobile using the latest web standards</a:t>
          </a:r>
        </a:p>
      </dsp:txBody>
      <dsp:txXfrm>
        <a:off x="1029841" y="1837460"/>
        <a:ext cx="10049409" cy="525017"/>
      </dsp:txXfrm>
    </dsp:sp>
    <dsp:sp modelId="{CCABAEA6-84A7-43B2-AE3E-AA77E44737BE}">
      <dsp:nvSpPr>
        <dsp:cNvPr id="0" name=""/>
        <dsp:cNvSpPr/>
      </dsp:nvSpPr>
      <dsp:spPr>
        <a:xfrm>
          <a:off x="701705" y="1771833"/>
          <a:ext cx="656271" cy="656271"/>
        </a:xfrm>
        <a:prstGeom prst="ellipse">
          <a:avLst/>
        </a:prstGeom>
        <a:solidFill>
          <a:schemeClr val="lt1">
            <a:hueOff val="0"/>
            <a:satOff val="0"/>
            <a:lumOff val="0"/>
            <a:alphaOff val="0"/>
          </a:schemeClr>
        </a:solidFill>
        <a:ln w="12700" cap="flat" cmpd="sng" algn="ctr">
          <a:solidFill>
            <a:schemeClr val="accent5">
              <a:hueOff val="-2941338"/>
              <a:satOff val="-4091"/>
              <a:lumOff val="-1569"/>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19E84-6DD9-43A3-921E-AC3C76D4EF46}">
      <dsp:nvSpPr>
        <dsp:cNvPr id="0" name=""/>
        <dsp:cNvSpPr/>
      </dsp:nvSpPr>
      <dsp:spPr>
        <a:xfrm>
          <a:off x="1029841" y="2624388"/>
          <a:ext cx="10049409" cy="525017"/>
        </a:xfrm>
        <a:prstGeom prst="rect">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API Services for both web and devices</a:t>
          </a:r>
        </a:p>
      </dsp:txBody>
      <dsp:txXfrm>
        <a:off x="1029841" y="2624388"/>
        <a:ext cx="10049409" cy="525017"/>
      </dsp:txXfrm>
    </dsp:sp>
    <dsp:sp modelId="{D2B54007-1114-44EF-8EEA-3E6760D3169D}">
      <dsp:nvSpPr>
        <dsp:cNvPr id="0" name=""/>
        <dsp:cNvSpPr/>
      </dsp:nvSpPr>
      <dsp:spPr>
        <a:xfrm>
          <a:off x="701705" y="2558760"/>
          <a:ext cx="656271" cy="656271"/>
        </a:xfrm>
        <a:prstGeom prst="ellipse">
          <a:avLst/>
        </a:prstGeom>
        <a:solidFill>
          <a:schemeClr val="lt1">
            <a:hueOff val="0"/>
            <a:satOff val="0"/>
            <a:lumOff val="0"/>
            <a:alphaOff val="0"/>
          </a:schemeClr>
        </a:solidFill>
        <a:ln w="12700" cap="flat" cmpd="sng" algn="ctr">
          <a:solidFill>
            <a:schemeClr val="accent5">
              <a:hueOff val="-4412007"/>
              <a:satOff val="-6137"/>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7CCD8C-EC29-4A94-81A7-0B4E010ADBB1}">
      <dsp:nvSpPr>
        <dsp:cNvPr id="0" name=""/>
        <dsp:cNvSpPr/>
      </dsp:nvSpPr>
      <dsp:spPr>
        <a:xfrm>
          <a:off x="832361" y="3411814"/>
          <a:ext cx="10246888" cy="525017"/>
        </a:xfrm>
        <a:prstGeom prst="rect">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unning, improving and maintaining a site in the real world</a:t>
          </a:r>
        </a:p>
      </dsp:txBody>
      <dsp:txXfrm>
        <a:off x="832361" y="3411814"/>
        <a:ext cx="10246888" cy="525017"/>
      </dsp:txXfrm>
    </dsp:sp>
    <dsp:sp modelId="{9DACB2D5-EADA-42FB-807E-695C820FD52F}">
      <dsp:nvSpPr>
        <dsp:cNvPr id="0" name=""/>
        <dsp:cNvSpPr/>
      </dsp:nvSpPr>
      <dsp:spPr>
        <a:xfrm>
          <a:off x="504226" y="3346187"/>
          <a:ext cx="656271" cy="656271"/>
        </a:xfrm>
        <a:prstGeom prst="ellipse">
          <a:avLst/>
        </a:prstGeom>
        <a:solidFill>
          <a:schemeClr val="lt1">
            <a:hueOff val="0"/>
            <a:satOff val="0"/>
            <a:lumOff val="0"/>
            <a:alphaOff val="0"/>
          </a:schemeClr>
        </a:solidFill>
        <a:ln w="12700" cap="flat" cmpd="sng" algn="ctr">
          <a:solidFill>
            <a:schemeClr val="accent5">
              <a:hueOff val="-5882676"/>
              <a:satOff val="-8182"/>
              <a:lumOff val="-3138"/>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C6EAF-654A-40F3-B5C2-E5916E974EC3}">
      <dsp:nvSpPr>
        <dsp:cNvPr id="0" name=""/>
        <dsp:cNvSpPr/>
      </dsp:nvSpPr>
      <dsp:spPr>
        <a:xfrm>
          <a:off x="400499" y="4199240"/>
          <a:ext cx="10678751" cy="525017"/>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6732" tIns="45720" rIns="45720" bIns="45720" numCol="1" spcCol="1270" anchor="ctr" anchorCtr="0">
          <a:noAutofit/>
        </a:bodyPr>
        <a:lstStyle/>
        <a:p>
          <a:pPr lvl="0" algn="l" defTabSz="800100">
            <a:lnSpc>
              <a:spcPct val="90000"/>
            </a:lnSpc>
            <a:spcBef>
              <a:spcPct val="0"/>
            </a:spcBef>
            <a:spcAft>
              <a:spcPct val="35000"/>
            </a:spcAft>
          </a:pPr>
          <a:r>
            <a:rPr lang="en-US" sz="1800" kern="1200" dirty="0" smtClean="0"/>
            <a:t>Real-time Communications with SignalR</a:t>
          </a:r>
        </a:p>
      </dsp:txBody>
      <dsp:txXfrm>
        <a:off x="400499" y="4199240"/>
        <a:ext cx="10678751" cy="525017"/>
      </dsp:txXfrm>
    </dsp:sp>
    <dsp:sp modelId="{0890763D-4DAB-412B-8174-6F5ADECA768A}">
      <dsp:nvSpPr>
        <dsp:cNvPr id="0" name=""/>
        <dsp:cNvSpPr/>
      </dsp:nvSpPr>
      <dsp:spPr>
        <a:xfrm>
          <a:off x="72363" y="4133613"/>
          <a:ext cx="656271" cy="656271"/>
        </a:xfrm>
        <a:prstGeom prst="ellipse">
          <a:avLst/>
        </a:prstGeom>
        <a:solidFill>
          <a:schemeClr val="lt1">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990FE3-7537-4D15-A9F5-FDF1805FD5F8}" type="datetimeFigureOut">
              <a:rPr lang="en-US" smtClean="0"/>
              <a:t>10/3/2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C67A6-C0E7-47DF-97C2-CA9B11275397}" type="slidenum">
              <a:rPr lang="en-US" smtClean="0"/>
              <a:t>‹#›</a:t>
            </a:fld>
            <a:endParaRPr lang="en-US"/>
          </a:p>
        </p:txBody>
      </p:sp>
    </p:spTree>
    <p:extLst>
      <p:ext uri="{BB962C8B-B14F-4D97-AF65-F5344CB8AC3E}">
        <p14:creationId xmlns:p14="http://schemas.microsoft.com/office/powerpoint/2010/main" val="3818312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06050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2 minutes</a:t>
            </a:r>
          </a:p>
          <a:p>
            <a:endParaRPr lang="en-US" dirty="0" smtClean="0"/>
          </a:p>
          <a:p>
            <a:r>
              <a:rPr lang="en-US" dirty="0" smtClean="0"/>
              <a:t>No matter which</a:t>
            </a:r>
            <a:r>
              <a:rPr lang="en-US" baseline="0" dirty="0" smtClean="0"/>
              <a:t> type of developer you are, you get the benefit of the ASP.NET Core runtime, which provides many useful modules that provide functionality that you are likely to need when creating web applications.  For example: Profile, Roles and Membership is important if you want to build in users and security around different parts of your website.</a:t>
            </a:r>
            <a:endParaRPr lang="en-US" dirty="0" smtClean="0"/>
          </a:p>
          <a:p>
            <a:endParaRPr lang="en-US" dirty="0" smtClean="0"/>
          </a:p>
          <a:p>
            <a:r>
              <a:rPr lang="en-US" dirty="0" smtClean="0"/>
              <a:t>[Build x 3]</a:t>
            </a:r>
          </a:p>
          <a:p>
            <a:endParaRPr lang="en-US" dirty="0" smtClean="0"/>
          </a:p>
          <a:p>
            <a:r>
              <a:rPr lang="en-US" dirty="0" smtClean="0"/>
              <a:t>ASP.NET</a:t>
            </a:r>
            <a:r>
              <a:rPr lang="en-US" baseline="0" dirty="0" smtClean="0"/>
              <a:t> Web Forms, ASP.NET MVC and ASP.NET Web Pages are three different approaches to building web applications on the server side with ASP.NET.  They all build on top of the same core runtime that provides them with the same powerful set of modules that web developers can leverage from within their web applications.  </a:t>
            </a:r>
          </a:p>
          <a:p>
            <a:endParaRPr lang="en-US" baseline="0" dirty="0" smtClean="0"/>
          </a:p>
          <a:p>
            <a:r>
              <a:rPr lang="en-US" dirty="0" smtClean="0"/>
              <a:t>ASP.NET Web Forms is great for developers coming from</a:t>
            </a:r>
            <a:r>
              <a:rPr lang="en-US" baseline="0" dirty="0" smtClean="0"/>
              <a:t> desktop application development where they are accustomed to controls, event-driven development and code-behind.  Despite not being concepts that are native to the web, Web Forms achieves this by abstracting away things like maintaining state, form posting and much more.  This ease of development means that developers relinquish a certain amount of control as Web Forms manages communication between the server and client on your behalf.</a:t>
            </a:r>
          </a:p>
          <a:p>
            <a:endParaRPr lang="en-US" baseline="0" dirty="0" smtClean="0"/>
          </a:p>
          <a:p>
            <a:r>
              <a:rPr lang="en-US" baseline="0" dirty="0" smtClean="0"/>
              <a:t>ASP.NET MVC, in contrast, is for developers that like to be in full control of the interactions between client and server and provides a more “raw” approach to what happens in the web application.  Due to its loosely coupled architecture, MVC is also very extensible with many places for developers to customize and plugin components as well write test code easily.</a:t>
            </a:r>
          </a:p>
          <a:p>
            <a:endParaRPr lang="en-US" baseline="0" dirty="0" smtClean="0"/>
          </a:p>
          <a:p>
            <a:r>
              <a:rPr lang="en-US" baseline="0" dirty="0" smtClean="0"/>
              <a:t>Developing in ASP.NET Web Pages is centered around inline code and is similar to PHP or classic ASP in that compilation of your application isn’t required (it is in </a:t>
            </a:r>
            <a:r>
              <a:rPr lang="en-US" baseline="0" dirty="0" err="1" smtClean="0"/>
              <a:t>WebForms</a:t>
            </a:r>
            <a:r>
              <a:rPr lang="en-US" baseline="0" dirty="0" smtClean="0"/>
              <a:t> and MVC).  It is designed to provide the simplest approach to building websites with the fewest number of concepts to learn.</a:t>
            </a:r>
          </a:p>
          <a:p>
            <a:endParaRPr lang="en-US" baseline="0" dirty="0" smtClean="0"/>
          </a:p>
          <a:p>
            <a:r>
              <a:rPr lang="en-US" baseline="0" dirty="0" smtClean="0"/>
              <a:t>[Build x 2]</a:t>
            </a:r>
          </a:p>
          <a:p>
            <a:endParaRPr lang="en-US" baseline="0" dirty="0" smtClean="0"/>
          </a:p>
          <a:p>
            <a:r>
              <a:rPr lang="en-US" baseline="0" dirty="0" smtClean="0"/>
              <a:t>When it comes to controlling the markup that is rendered to the client there are two view engines you may use.  The Web Forms view engine is shared by both Web Forms and MVC and uses the familiar &lt;% %&gt; syntax.  With ASP.NET MVC 3 and ASP.NET Web Pages Microsoft introduced the Razor View Engine which uses a different syntax centered around the @ symbol.  The Razor syntax uses fewer characters to achieve the same things in Web Forms and allows the developer to mix markup and code really easily.</a:t>
            </a:r>
          </a:p>
        </p:txBody>
      </p:sp>
      <p:sp>
        <p:nvSpPr>
          <p:cNvPr id="4" name="Slide Number Placeholder 3"/>
          <p:cNvSpPr>
            <a:spLocks noGrp="1"/>
          </p:cNvSpPr>
          <p:nvPr>
            <p:ph type="sldNum" sz="quarter" idx="10"/>
          </p:nvPr>
        </p:nvSpPr>
        <p:spPr/>
        <p:txBody>
          <a:bodyPr/>
          <a:lstStyle/>
          <a:p>
            <a:fld id="{87A12A5C-4330-4241-88FF-F2EE6603F1FB}" type="slidenum">
              <a:rPr lang="en-US" smtClean="0"/>
              <a:pPr/>
              <a:t>5</a:t>
            </a:fld>
            <a:endParaRPr lang="en-US"/>
          </a:p>
        </p:txBody>
      </p:sp>
    </p:spTree>
    <p:extLst>
      <p:ext uri="{BB962C8B-B14F-4D97-AF65-F5344CB8AC3E}">
        <p14:creationId xmlns:p14="http://schemas.microsoft.com/office/powerpoint/2010/main" val="1723178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413784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45895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30383042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2598770515"/>
              </p:ext>
            </p:extLst>
          </p:nvPr>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688762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075137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7758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5186917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2 Microsoft Corporation. All rights reserved. Microsoft, </a:t>
            </a:r>
            <a:r>
              <a:rPr lang="en-US" sz="686" dirty="0" smtClean="0">
                <a:gradFill>
                  <a:gsLst>
                    <a:gs pos="0">
                      <a:srgbClr val="FFFFFF"/>
                    </a:gs>
                    <a:gs pos="100000">
                      <a:srgbClr val="FFFFFF"/>
                    </a:gs>
                  </a:gsLst>
                  <a:lin ang="5400000" scaled="0"/>
                </a:gradFill>
                <a:cs typeface="Segoe UI" pitchFamily="34" charset="0"/>
              </a:rPr>
              <a:t>Microsoft, Microsoft </a:t>
            </a:r>
            <a:r>
              <a:rPr lang="en-US" sz="686" dirty="0">
                <a:gradFill>
                  <a:gsLst>
                    <a:gs pos="0">
                      <a:srgbClr val="FFFFFF"/>
                    </a:gs>
                    <a:gs pos="100000">
                      <a:srgbClr val="FFFFFF"/>
                    </a:gs>
                  </a:gsLst>
                  <a:lin ang="5400000" scaled="0"/>
                </a:gradFill>
                <a:cs typeface="Segoe UI" pitchFamily="34" charset="0"/>
              </a:rPr>
              <a:t>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4562112"/>
            <a:ext cx="3223861" cy="690695"/>
          </a:xfrm>
          <a:prstGeom prst="rect">
            <a:avLst/>
          </a:prstGeom>
        </p:spPr>
      </p:pic>
    </p:spTree>
    <p:extLst>
      <p:ext uri="{BB962C8B-B14F-4D97-AF65-F5344CB8AC3E}">
        <p14:creationId xmlns:p14="http://schemas.microsoft.com/office/powerpoint/2010/main" val="352451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660995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02857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149842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0902755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251597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171B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3C454F"/>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626348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249241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4436030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1809348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66151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97751804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3519163226"/>
              </p:ext>
            </p:extLst>
          </p:nvPr>
        </p:nvGraphicFramePr>
        <p:xfrm>
          <a:off x="584200" y="1476596"/>
          <a:ext cx="11056420" cy="4320392"/>
        </p:xfrm>
        <a:graphic>
          <a:graphicData uri="http://schemas.openxmlformats.org/drawingml/2006/table">
            <a:tbl>
              <a:tblPr firstRow="1" bandRow="1">
                <a:tableStyleId>{93296810-A885-4BE3-A3E7-6D5BEEA58F35}</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8338934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80B94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04375499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80B94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4319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80B9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8515581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31474333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1D438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9910246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166289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132306615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244770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extLst>
              <p:ext uri="{D42A27DB-BD31-4B8C-83A1-F6EECF244321}">
                <p14:modId xmlns:p14="http://schemas.microsoft.com/office/powerpoint/2010/main" val="822313139"/>
              </p:ext>
            </p:extLst>
          </p:nvPr>
        </p:nvGraphicFramePr>
        <p:xfrm>
          <a:off x="584200" y="1476596"/>
          <a:ext cx="11056420" cy="4320392"/>
        </p:xfrm>
        <a:graphic>
          <a:graphicData uri="http://schemas.openxmlformats.org/drawingml/2006/table">
            <a:tbl>
              <a:tblPr firstRow="1" bandRow="1">
                <a:tableStyleId>{21E4AEA4-8DFA-4A89-87EB-49C32662AFE0}</a:tableStyleId>
              </a:tblPr>
              <a:tblGrid>
                <a:gridCol w="2764105"/>
                <a:gridCol w="2764105"/>
                <a:gridCol w="2764105"/>
                <a:gridCol w="2764105"/>
              </a:tblGrid>
              <a:tr h="644435">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c>
                  <a:txBody>
                    <a:bodyPr/>
                    <a:lstStyle/>
                    <a:p>
                      <a:r>
                        <a:rPr lang="en-US" sz="2000" dirty="0" smtClean="0"/>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89FD7"/>
                    </a:solidFill>
                  </a:tcPr>
                </a:tc>
              </a:tr>
              <a:tr h="1225319">
                <a:tc>
                  <a:txBody>
                    <a:bodyPr/>
                    <a:lstStyle/>
                    <a:p>
                      <a:r>
                        <a:rPr lang="en-US" sz="1600" dirty="0" smtClean="0"/>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8189346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3C454F"/>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79419873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3C454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53838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3C454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5694425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0696092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5787690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858845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61708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smtClean="0"/>
              <a:t>Click to edit Master title style</a:t>
            </a:r>
            <a:endParaRPr lang="en-US"/>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BDCD2C"/>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2761852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2276411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42597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1D438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601932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1D438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6527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rgbClr val="1D43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2187924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440407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754852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73707773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6419584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graphicFrame>
        <p:nvGraphicFramePr>
          <p:cNvPr id="6" name="Table 5"/>
          <p:cNvGraphicFramePr>
            <a:graphicFrameLocks noGrp="1"/>
          </p:cNvGraphicFramePr>
          <p:nvPr userDrawn="1"/>
        </p:nvGraphicFramePr>
        <p:xfrm>
          <a:off x="584200" y="1476596"/>
          <a:ext cx="11056420" cy="4320392"/>
        </p:xfrm>
        <a:graphic>
          <a:graphicData uri="http://schemas.openxmlformats.org/drawingml/2006/table">
            <a:tbl>
              <a:tblPr firstRow="1" bandRow="1">
                <a:tableStyleId>{5C22544A-7EE6-4342-B048-85BDC9FD1C3A}</a:tableStyleId>
              </a:tblPr>
              <a:tblGrid>
                <a:gridCol w="2764105"/>
                <a:gridCol w="2764105"/>
                <a:gridCol w="2764105"/>
                <a:gridCol w="2764105"/>
              </a:tblGrid>
              <a:tr h="644435">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25319">
                <a:tc>
                  <a:txBody>
                    <a:bodyPr/>
                    <a:lstStyle/>
                    <a:p>
                      <a:r>
                        <a:rPr lang="en-US" sz="1600" dirty="0" smtClean="0">
                          <a:solidFill>
                            <a:srgbClr val="3C454F"/>
                          </a:solidFill>
                        </a:rPr>
                        <a:t>Content</a:t>
                      </a:r>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381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r h="1225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7160" marR="137160" marT="137160" marB="13716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9261911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lvl1pPr>
              <a:defRPr>
                <a:solidFill>
                  <a:srgbClr val="289FD7"/>
                </a:solidFill>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a:xfrm>
            <a:off x="6638425" y="5517221"/>
            <a:ext cx="5013325" cy="1026863"/>
          </a:xfrm>
        </p:spPr>
        <p:txBody>
          <a:bodyPr/>
          <a:lstStyle>
            <a:lvl1pPr>
              <a:defRPr>
                <a:solidFill>
                  <a:srgbClr val="289FD7"/>
                </a:solidFill>
              </a:defRPr>
            </a:lvl1pPr>
          </a:lstStyle>
          <a:p>
            <a:pPr lvl="0"/>
            <a:r>
              <a:rPr lang="en-US" dirty="0" smtClean="0"/>
              <a:t>Presenter Name</a:t>
            </a:r>
          </a:p>
          <a:p>
            <a:pPr lvl="0"/>
            <a:r>
              <a:rPr lang="en-US" dirty="0" smtClean="0"/>
              <a:t>Title/role</a:t>
            </a:r>
          </a:p>
        </p:txBody>
      </p:sp>
    </p:spTree>
    <p:extLst>
      <p:ext uri="{BB962C8B-B14F-4D97-AF65-F5344CB8AC3E}">
        <p14:creationId xmlns:p14="http://schemas.microsoft.com/office/powerpoint/2010/main" val="10691620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481524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1832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9245951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695316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99573621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32295712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48424005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73804711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7311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24628228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8784256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3545904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60798" y="2111604"/>
            <a:ext cx="11079822" cy="3980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4246363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7845615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89F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36150" y="3765871"/>
            <a:ext cx="10515600" cy="1325563"/>
          </a:xfrm>
          <a:prstGeom prst="rect">
            <a:avLst/>
          </a:prstGeom>
        </p:spPr>
        <p:txBody>
          <a:bodyPr vert="horz" lIns="91440" tIns="45720" rIns="91440" bIns="45720" rtlCol="0" anchor="t">
            <a:noAutofit/>
          </a:bodyPr>
          <a:lstStyle/>
          <a:p>
            <a:r>
              <a:rPr lang="en-US" dirty="0" smtClean="0"/>
              <a:t>Topic/Title</a:t>
            </a:r>
            <a:endParaRPr lang="en-US" dirty="0"/>
          </a:p>
        </p:txBody>
      </p:sp>
      <p:sp>
        <p:nvSpPr>
          <p:cNvPr id="3" name="Text Placeholder 2"/>
          <p:cNvSpPr>
            <a:spLocks noGrp="1"/>
          </p:cNvSpPr>
          <p:nvPr>
            <p:ph type="body" idx="1"/>
          </p:nvPr>
        </p:nvSpPr>
        <p:spPr>
          <a:xfrm>
            <a:off x="5739829" y="5363109"/>
            <a:ext cx="5911921" cy="813853"/>
          </a:xfrm>
          <a:prstGeom prst="rect">
            <a:avLst/>
          </a:prstGeom>
        </p:spPr>
        <p:txBody>
          <a:bodyPr vert="horz" lIns="91440" tIns="45720" rIns="91440" bIns="45720" rtlCol="0">
            <a:normAutofit/>
          </a:bodyPr>
          <a:lstStyle/>
          <a:p>
            <a:pPr lvl="0"/>
            <a:r>
              <a:rPr lang="en-US" dirty="0" smtClean="0"/>
              <a:t>Presenter Name</a:t>
            </a:r>
          </a:p>
          <a:p>
            <a:pPr lvl="0"/>
            <a:r>
              <a:rPr lang="en-US" dirty="0" smtClean="0"/>
              <a:t>Title</a:t>
            </a:r>
            <a:endParaRPr lang="en-US" dirty="0"/>
          </a:p>
        </p:txBody>
      </p:sp>
    </p:spTree>
    <p:extLst>
      <p:ext uri="{BB962C8B-B14F-4D97-AF65-F5344CB8AC3E}">
        <p14:creationId xmlns:p14="http://schemas.microsoft.com/office/powerpoint/2010/main" val="388632737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iming>
    <p:tnLst>
      <p:par>
        <p:cTn id="1" dur="indefinite" restart="never" nodeType="tmRoot"/>
      </p:par>
    </p:tnLst>
  </p:timing>
  <p:txStyles>
    <p:titleStyle>
      <a:lvl1pPr algn="r" defTabSz="914400" rtl="0" eaLnBrk="1" latinLnBrk="0" hangingPunct="1">
        <a:lnSpc>
          <a:spcPct val="90000"/>
        </a:lnSpc>
        <a:spcBef>
          <a:spcPct val="0"/>
        </a:spcBef>
        <a:buNone/>
        <a:defRPr sz="9600" kern="1200">
          <a:solidFill>
            <a:schemeClr val="bg1"/>
          </a:solidFill>
          <a:latin typeface="Segoe UI Light" panose="020B0502040204020203" pitchFamily="34" charset="0"/>
          <a:ea typeface="+mj-ea"/>
          <a:cs typeface="Segoe UI Light" panose="020B0502040204020203" pitchFamily="34" charset="0"/>
        </a:defRPr>
      </a:lvl1pPr>
    </p:titleStyle>
    <p:bodyStyle>
      <a:lvl1pPr marL="0" indent="0" algn="r" defTabSz="914400" rtl="0" eaLnBrk="1" latinLnBrk="0" hangingPunct="1">
        <a:lnSpc>
          <a:spcPct val="90000"/>
        </a:lnSpc>
        <a:spcBef>
          <a:spcPts val="1000"/>
        </a:spcBef>
        <a:buFont typeface="Arial" panose="020B0604020202020204" pitchFamily="34" charset="0"/>
        <a:buNone/>
        <a:defRPr sz="1800" b="0" kern="1200">
          <a:solidFill>
            <a:srgbClr val="1D4380"/>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7"/>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t>Microsoft </a:t>
            </a:r>
            <a:r>
              <a:rPr lang="en-US" dirty="0" smtClean="0"/>
              <a:t>Azure</a:t>
            </a:r>
            <a:endParaRPr lang="en-US" dirty="0"/>
          </a:p>
        </p:txBody>
      </p:sp>
      <p:sp>
        <p:nvSpPr>
          <p:cNvPr id="15" name="Rectangle 14"/>
          <p:cNvSpPr/>
          <p:nvPr userDrawn="1"/>
        </p:nvSpPr>
        <p:spPr>
          <a:xfrm>
            <a:off x="1" y="0"/>
            <a:ext cx="123290" cy="6858000"/>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5374696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73" r:id="rId3"/>
    <p:sldLayoutId id="2147483720" r:id="rId4"/>
    <p:sldLayoutId id="2147483779" r:id="rId5"/>
    <p:sldLayoutId id="2147483721" r:id="rId6"/>
    <p:sldLayoutId id="2147483726" r:id="rId7"/>
    <p:sldLayoutId id="2147483722" r:id="rId8"/>
    <p:sldLayoutId id="2147483772" r:id="rId9"/>
    <p:sldLayoutId id="2147483784" r:id="rId10"/>
    <p:sldLayoutId id="2147483785" r:id="rId11"/>
    <p:sldLayoutId id="2147483786" r:id="rId12"/>
    <p:sldLayoutId id="2147483787" r:id="rId13"/>
    <p:sldLayoutId id="2147483788" r:id="rId14"/>
    <p:sldLayoutId id="2147483789"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0B94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BDCD2C"/>
                </a:solidFill>
              </a:rPr>
              <a:t>Microsoft </a:t>
            </a:r>
            <a:r>
              <a:rPr lang="en-US" dirty="0" smtClean="0">
                <a:solidFill>
                  <a:srgbClr val="BDCD2C"/>
                </a:solidFill>
              </a:rPr>
              <a:t>Azure</a:t>
            </a:r>
            <a:endParaRPr lang="en-US" dirty="0">
              <a:solidFill>
                <a:srgbClr val="BDCD2C"/>
              </a:solidFill>
            </a:endParaRPr>
          </a:p>
        </p:txBody>
      </p:sp>
      <p:sp>
        <p:nvSpPr>
          <p:cNvPr id="15" name="Rectangle 14"/>
          <p:cNvSpPr/>
          <p:nvPr userDrawn="1"/>
        </p:nvSpPr>
        <p:spPr>
          <a:xfrm>
            <a:off x="1" y="0"/>
            <a:ext cx="123290" cy="6858000"/>
          </a:xfrm>
          <a:prstGeom prst="rect">
            <a:avLst/>
          </a:prstGeom>
          <a:solidFill>
            <a:srgbClr val="BDCD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BDCD2C"/>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310979109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74" r:id="rId3"/>
    <p:sldLayoutId id="2147483730" r:id="rId4"/>
    <p:sldLayoutId id="2147483780" r:id="rId5"/>
    <p:sldLayoutId id="2147483731" r:id="rId6"/>
    <p:sldLayoutId id="2147483732" r:id="rId7"/>
    <p:sldLayoutId id="2147483733"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C454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t>
            </a:r>
            <a:r>
              <a:rPr lang="en-US" dirty="0" smtClean="0">
                <a:solidFill>
                  <a:srgbClr val="617081"/>
                </a:solidFill>
              </a:rPr>
              <a:t>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265158620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75" r:id="rId3"/>
    <p:sldLayoutId id="2147483737" r:id="rId4"/>
    <p:sldLayoutId id="2147483781" r:id="rId5"/>
    <p:sldLayoutId id="2147483738" r:id="rId6"/>
    <p:sldLayoutId id="2147483739" r:id="rId7"/>
    <p:sldLayoutId id="2147483740"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D438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0171B0"/>
                </a:solidFill>
              </a:rPr>
              <a:t>Microsoft </a:t>
            </a:r>
            <a:r>
              <a:rPr lang="en-US" dirty="0" smtClean="0">
                <a:solidFill>
                  <a:srgbClr val="0171B0"/>
                </a:solidFill>
              </a:rPr>
              <a:t>Azure</a:t>
            </a:r>
            <a:endParaRPr lang="en-US" dirty="0">
              <a:solidFill>
                <a:srgbClr val="0171B0"/>
              </a:solidFill>
            </a:endParaRPr>
          </a:p>
        </p:txBody>
      </p:sp>
      <p:sp>
        <p:nvSpPr>
          <p:cNvPr id="15" name="Rectangle 14"/>
          <p:cNvSpPr/>
          <p:nvPr userDrawn="1"/>
        </p:nvSpPr>
        <p:spPr>
          <a:xfrm>
            <a:off x="1" y="0"/>
            <a:ext cx="123290" cy="6858000"/>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0171B0"/>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78736854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76" r:id="rId3"/>
    <p:sldLayoutId id="2147483744" r:id="rId4"/>
    <p:sldLayoutId id="2147483782" r:id="rId5"/>
    <p:sldLayoutId id="2147483745" r:id="rId6"/>
    <p:sldLayoutId id="2147483746" r:id="rId7"/>
    <p:sldLayoutId id="2147483747"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0"/>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289FD7"/>
                </a:solidFill>
              </a:rPr>
              <a:t>Microsoft </a:t>
            </a:r>
            <a:r>
              <a:rPr lang="en-US" dirty="0" smtClean="0">
                <a:solidFill>
                  <a:srgbClr val="289FD7"/>
                </a:solidFill>
              </a:rPr>
              <a:t>Azure</a:t>
            </a:r>
            <a:endParaRPr lang="en-US" dirty="0">
              <a:solidFill>
                <a:srgbClr val="289FD7"/>
              </a:solidFill>
            </a:endParaRPr>
          </a:p>
        </p:txBody>
      </p:sp>
      <p:sp>
        <p:nvSpPr>
          <p:cNvPr id="15" name="Rectangle 14"/>
          <p:cNvSpPr/>
          <p:nvPr userDrawn="1"/>
        </p:nvSpPr>
        <p:spPr>
          <a:xfrm>
            <a:off x="1" y="0"/>
            <a:ext cx="123290" cy="6858000"/>
          </a:xfrm>
          <a:prstGeom prst="rect">
            <a:avLst/>
          </a:prstGeom>
          <a:solidFill>
            <a:srgbClr val="6170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289FD7"/>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116902548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77" r:id="rId3"/>
    <p:sldLayoutId id="2147483751" r:id="rId4"/>
    <p:sldLayoutId id="2147483783" r:id="rId5"/>
    <p:sldLayoutId id="2147483752" r:id="rId6"/>
    <p:sldLayoutId id="2147483753" r:id="rId7"/>
    <p:sldLayoutId id="2147483754"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rgbClr val="61708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rgbClr val="61708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rgbClr val="61708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rgbClr val="61708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0798" y="416496"/>
            <a:ext cx="11079822"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876996"/>
            <a:ext cx="11079822" cy="421557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9"/>
          <a:stretch>
            <a:fillRect/>
          </a:stretch>
        </p:blipFill>
        <p:spPr>
          <a:xfrm>
            <a:off x="448633" y="-1916710"/>
            <a:ext cx="1916710" cy="1916710"/>
          </a:xfrm>
          <a:prstGeom prst="rect">
            <a:avLst/>
          </a:prstGeom>
        </p:spPr>
      </p:pic>
      <p:sp>
        <p:nvSpPr>
          <p:cNvPr id="8" name="Rectangle 7"/>
          <p:cNvSpPr/>
          <p:nvPr userDrawn="1"/>
        </p:nvSpPr>
        <p:spPr>
          <a:xfrm>
            <a:off x="2516172" y="-1299953"/>
            <a:ext cx="848413" cy="683197"/>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468279" y="-1299953"/>
            <a:ext cx="848413" cy="683197"/>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467521" y="-1299953"/>
            <a:ext cx="848413" cy="683197"/>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5400774" y="-1299953"/>
            <a:ext cx="848413" cy="683197"/>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334027" y="-1299953"/>
            <a:ext cx="848413" cy="683197"/>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7304987" y="-1299953"/>
            <a:ext cx="848413" cy="683197"/>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txBox="1">
            <a:spLocks/>
          </p:cNvSpPr>
          <p:nvPr userDrawn="1"/>
        </p:nvSpPr>
        <p:spPr>
          <a:xfrm>
            <a:off x="560798" y="625621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smtClean="0">
                <a:solidFill>
                  <a:srgbClr val="617081"/>
                </a:solidFill>
              </a:rPr>
              <a:t>Microsoft </a:t>
            </a:r>
            <a:r>
              <a:rPr lang="en-US" dirty="0" smtClean="0">
                <a:solidFill>
                  <a:srgbClr val="617081"/>
                </a:solidFill>
              </a:rPr>
              <a:t>Azure</a:t>
            </a:r>
            <a:endParaRPr lang="en-US" dirty="0">
              <a:solidFill>
                <a:srgbClr val="617081"/>
              </a:solidFill>
            </a:endParaRPr>
          </a:p>
        </p:txBody>
      </p:sp>
      <p:sp>
        <p:nvSpPr>
          <p:cNvPr id="15" name="Rectangle 14"/>
          <p:cNvSpPr/>
          <p:nvPr userDrawn="1"/>
        </p:nvSpPr>
        <p:spPr>
          <a:xfrm>
            <a:off x="1" y="0"/>
            <a:ext cx="123290" cy="6858000"/>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lang="en-US" smtClean="0">
                <a:solidFill>
                  <a:srgbClr val="617081"/>
                </a:solidFill>
              </a:defRPr>
            </a:lvl1pPr>
          </a:lstStyle>
          <a:p>
            <a:fld id="{0D099E2A-118A-4377-8F98-2DF40BCBA9FE}" type="slidenum">
              <a:rPr lang="en-US" smtClean="0"/>
              <a:pPr/>
              <a:t>‹#›</a:t>
            </a:fld>
            <a:endParaRPr lang="en-US" dirty="0"/>
          </a:p>
        </p:txBody>
      </p:sp>
    </p:spTree>
    <p:extLst>
      <p:ext uri="{BB962C8B-B14F-4D97-AF65-F5344CB8AC3E}">
        <p14:creationId xmlns:p14="http://schemas.microsoft.com/office/powerpoint/2010/main" val="41941421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78" r:id="rId3"/>
    <p:sldLayoutId id="2147483761" r:id="rId4"/>
    <p:sldLayoutId id="2147483762" r:id="rId5"/>
    <p:sldLayoutId id="2147483763" r:id="rId6"/>
    <p:sldLayoutId id="2147483764"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rgbClr val="289FD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8.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1.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9.xml"/><Relationship Id="rId7" Type="http://schemas.openxmlformats.org/officeDocument/2006/relationships/diagramData" Target="../diagrams/data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97017" y="2055604"/>
            <a:ext cx="10515600" cy="1325563"/>
          </a:xfrm>
        </p:spPr>
        <p:txBody>
          <a:bodyPr/>
          <a:lstStyle/>
          <a:p>
            <a:r>
              <a:rPr lang="en-US" dirty="0" smtClean="0"/>
              <a:t>What’s next</a:t>
            </a:r>
            <a:endParaRPr lang="en-US" dirty="0"/>
          </a:p>
        </p:txBody>
      </p:sp>
      <p:sp>
        <p:nvSpPr>
          <p:cNvPr id="6" name="Text Placeholder 5"/>
          <p:cNvSpPr>
            <a:spLocks noGrp="1"/>
          </p:cNvSpPr>
          <p:nvPr>
            <p:ph type="body" sz="quarter" idx="10"/>
          </p:nvPr>
        </p:nvSpPr>
        <p:spPr>
          <a:xfrm>
            <a:off x="5461000" y="3996267"/>
            <a:ext cx="6351617" cy="2319217"/>
          </a:xfrm>
        </p:spPr>
        <p:txBody>
          <a:bodyPr>
            <a:normAutofit/>
          </a:bodyPr>
          <a:lstStyle/>
          <a:p>
            <a:r>
              <a:rPr lang="en-US" sz="2400" dirty="0"/>
              <a:t>[Speaker]</a:t>
            </a:r>
          </a:p>
          <a:p>
            <a:r>
              <a:rPr lang="en-US" dirty="0">
                <a:solidFill>
                  <a:schemeClr val="accent6">
                    <a:lumMod val="40000"/>
                    <a:lumOff val="60000"/>
                    <a:alpha val="98000"/>
                  </a:schemeClr>
                </a:solidFill>
              </a:rPr>
              <a:t>[Company]</a:t>
            </a:r>
          </a:p>
          <a:p>
            <a:endParaRPr lang="en-US" dirty="0">
              <a:solidFill>
                <a:schemeClr val="accent6">
                  <a:lumMod val="40000"/>
                  <a:lumOff val="60000"/>
                  <a:alpha val="98000"/>
                </a:schemeClr>
              </a:solidFill>
            </a:endParaRPr>
          </a:p>
          <a:p>
            <a:r>
              <a:rPr lang="en-US" dirty="0">
                <a:solidFill>
                  <a:schemeClr val="accent6">
                    <a:lumMod val="40000"/>
                    <a:lumOff val="60000"/>
                    <a:alpha val="98000"/>
                  </a:schemeClr>
                </a:solidFill>
              </a:rPr>
              <a:t>Email: [Email]</a:t>
            </a:r>
          </a:p>
          <a:p>
            <a:r>
              <a:rPr lang="en-US" dirty="0">
                <a:solidFill>
                  <a:schemeClr val="accent6">
                    <a:lumMod val="40000"/>
                    <a:lumOff val="60000"/>
                    <a:alpha val="98000"/>
                  </a:schemeClr>
                </a:solidFill>
              </a:rPr>
              <a:t>Twitter: [Twitter]</a:t>
            </a:r>
          </a:p>
        </p:txBody>
      </p:sp>
    </p:spTree>
    <p:extLst>
      <p:ext uri="{BB962C8B-B14F-4D97-AF65-F5344CB8AC3E}">
        <p14:creationId xmlns:p14="http://schemas.microsoft.com/office/powerpoint/2010/main" val="1368775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b Camps</a:t>
            </a:r>
            <a:endParaRPr lang="en-US" dirty="0"/>
          </a:p>
        </p:txBody>
      </p:sp>
      <p:sp>
        <p:nvSpPr>
          <p:cNvPr id="3" name="Text Placeholder 2"/>
          <p:cNvSpPr>
            <a:spLocks noGrp="1"/>
          </p:cNvSpPr>
          <p:nvPr>
            <p:ph type="body" sz="quarter" idx="10"/>
          </p:nvPr>
        </p:nvSpPr>
        <p:spPr>
          <a:xfrm>
            <a:off x="520701" y="1447800"/>
            <a:ext cx="11149013" cy="4076501"/>
          </a:xfrm>
        </p:spPr>
        <p:txBody>
          <a:bodyPr/>
          <a:lstStyle/>
          <a:p>
            <a:r>
              <a:rPr lang="en-US" b="0" dirty="0" smtClean="0">
                <a:solidFill>
                  <a:schemeClr val="bg1"/>
                </a:solidFill>
              </a:rPr>
              <a:t>http</a:t>
            </a:r>
            <a:r>
              <a:rPr lang="en-US" b="0" dirty="0">
                <a:solidFill>
                  <a:schemeClr val="bg1"/>
                </a:solidFill>
              </a:rPr>
              <a:t>://</a:t>
            </a:r>
            <a:r>
              <a:rPr lang="en-US" b="0" dirty="0" smtClean="0">
                <a:solidFill>
                  <a:schemeClr val="bg1"/>
                </a:solidFill>
              </a:rPr>
              <a:t>www.devcamps.ms</a:t>
            </a:r>
          </a:p>
          <a:p>
            <a:r>
              <a:rPr lang="en-US" b="0" dirty="0">
                <a:solidFill>
                  <a:schemeClr val="bg1"/>
                </a:solidFill>
              </a:rPr>
              <a:t>http://</a:t>
            </a:r>
            <a:r>
              <a:rPr lang="en-US" b="0" dirty="0" smtClean="0">
                <a:solidFill>
                  <a:schemeClr val="bg1"/>
                </a:solidFill>
              </a:rPr>
              <a:t>aka.ms/webcamps-training-kit</a:t>
            </a:r>
            <a:r>
              <a:rPr lang="en-US" dirty="0" smtClean="0">
                <a:solidFill>
                  <a:schemeClr val="bg1"/>
                </a:solidFill>
              </a:rPr>
              <a:t> </a:t>
            </a:r>
            <a:endParaRPr lang="en-US"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429164326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crosoft </a:t>
            </a:r>
            <a:r>
              <a:rPr lang="en-US" dirty="0" smtClean="0"/>
              <a:t>Azure</a:t>
            </a:r>
            <a:endParaRPr lang="en-US" dirty="0"/>
          </a:p>
        </p:txBody>
      </p:sp>
      <p:sp>
        <p:nvSpPr>
          <p:cNvPr id="3" name="Text Placeholder 2"/>
          <p:cNvSpPr>
            <a:spLocks noGrp="1"/>
          </p:cNvSpPr>
          <p:nvPr>
            <p:ph type="body" sz="quarter" idx="10"/>
          </p:nvPr>
        </p:nvSpPr>
        <p:spPr>
          <a:xfrm>
            <a:off x="520701" y="1447800"/>
            <a:ext cx="11149013" cy="4021101"/>
          </a:xfrm>
        </p:spPr>
        <p:txBody>
          <a:bodyPr/>
          <a:lstStyle/>
          <a:p>
            <a:r>
              <a:rPr lang="en-US" b="0" smtClean="0">
                <a:solidFill>
                  <a:schemeClr val="bg1"/>
                </a:solidFill>
              </a:rPr>
              <a:t>http</a:t>
            </a:r>
            <a:r>
              <a:rPr lang="en-US" b="0" smtClean="0">
                <a:solidFill>
                  <a:schemeClr val="bg1"/>
                </a:solidFill>
              </a:rPr>
              <a:t>://azure.microsoft.com</a:t>
            </a:r>
            <a:endParaRPr lang="en-US" sz="2400" dirty="0">
              <a:solidFill>
                <a:schemeClr val="bg1"/>
              </a:solidFill>
            </a:endParaRPr>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a:p>
            <a:pPr marL="574675" indent="-571500">
              <a:buFont typeface="Arial" panose="020B0604020202020204" pitchFamily="34" charset="0"/>
              <a:buChar char="•"/>
            </a:pPr>
            <a:endParaRPr lang="en-US" sz="2400" dirty="0"/>
          </a:p>
        </p:txBody>
      </p:sp>
    </p:spTree>
    <p:extLst>
      <p:ext uri="{BB962C8B-B14F-4D97-AF65-F5344CB8AC3E}">
        <p14:creationId xmlns:p14="http://schemas.microsoft.com/office/powerpoint/2010/main" val="82137059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P.NET site</a:t>
            </a:r>
            <a:endParaRPr lang="en-US" dirty="0"/>
          </a:p>
        </p:txBody>
      </p:sp>
      <p:pic>
        <p:nvPicPr>
          <p:cNvPr id="4" name="Content Placeholder 3"/>
          <p:cNvPicPr>
            <a:picLocks noGrp="1" noChangeAspect="1"/>
          </p:cNvPicPr>
          <p:nvPr>
            <p:ph sz="quarter" idx="4294967295"/>
          </p:nvPr>
        </p:nvPicPr>
        <p:blipFill>
          <a:blip r:embed="rId2"/>
          <a:stretch>
            <a:fillRect/>
          </a:stretch>
        </p:blipFill>
        <p:spPr>
          <a:xfrm>
            <a:off x="1772092" y="1387475"/>
            <a:ext cx="8647816" cy="5291138"/>
          </a:xfrm>
          <a:prstGeom prst="rect">
            <a:avLst/>
          </a:prstGeom>
        </p:spPr>
      </p:pic>
    </p:spTree>
    <p:extLst>
      <p:ext uri="{BB962C8B-B14F-4D97-AF65-F5344CB8AC3E}">
        <p14:creationId xmlns:p14="http://schemas.microsoft.com/office/powerpoint/2010/main" val="1462744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4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a:bodyPr>
          <a:lstStyle/>
          <a:p>
            <a:pPr marL="742950" indent="-742950">
              <a:lnSpc>
                <a:spcPct val="100000"/>
              </a:lnSpc>
              <a:buAutoNum type="arabicParenR"/>
            </a:pPr>
            <a:r>
              <a:rPr lang="en-US" sz="5400" dirty="0" smtClean="0">
                <a:latin typeface="+mj-lt"/>
              </a:rPr>
              <a:t>What we covered today</a:t>
            </a:r>
          </a:p>
          <a:p>
            <a:pPr marL="742950" indent="-742950">
              <a:lnSpc>
                <a:spcPct val="100000"/>
              </a:lnSpc>
              <a:buAutoNum type="arabicParenR"/>
            </a:pPr>
            <a:r>
              <a:rPr lang="en-US" sz="5400" dirty="0" smtClean="0">
                <a:latin typeface="+mj-lt"/>
              </a:rPr>
              <a:t>Top resources for more info</a:t>
            </a:r>
          </a:p>
          <a:p>
            <a:pPr marL="742950" indent="-742950">
              <a:lnSpc>
                <a:spcPct val="100000"/>
              </a:lnSpc>
              <a:buAutoNum type="arabicParenR"/>
            </a:pPr>
            <a:r>
              <a:rPr lang="en-US" sz="5400" dirty="0" smtClean="0">
                <a:latin typeface="+mj-lt"/>
              </a:rPr>
              <a:t>Your homework assignments</a:t>
            </a:r>
          </a:p>
        </p:txBody>
      </p:sp>
    </p:spTree>
    <p:extLst>
      <p:ext uri="{BB962C8B-B14F-4D97-AF65-F5344CB8AC3E}">
        <p14:creationId xmlns:p14="http://schemas.microsoft.com/office/powerpoint/2010/main" val="3063510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we covered</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225324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10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smtClean="0"/>
              <a:t>What we learned today</a:t>
            </a:r>
            <a:endParaRPr lang="en-US" dirty="0"/>
          </a:p>
        </p:txBody>
      </p:sp>
      <p:graphicFrame>
        <p:nvGraphicFramePr>
          <p:cNvPr id="4" name="Diagram 3"/>
          <p:cNvGraphicFramePr/>
          <p:nvPr>
            <p:extLst>
              <p:ext uri="{D42A27DB-BD31-4B8C-83A1-F6EECF244321}">
                <p14:modId xmlns:p14="http://schemas.microsoft.com/office/powerpoint/2010/main" val="1321355796"/>
              </p:ext>
            </p:extLst>
          </p:nvPr>
        </p:nvGraphicFramePr>
        <p:xfrm>
          <a:off x="520701"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1124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7" dur="500"/>
                                        <p:tgtEl>
                                          <p:spTgt spid="4">
                                            <p:graphicEl>
                                              <a:dgm id="{81B22F2D-5B8A-447B-B1AF-78E703F0FBA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BFD6C2D9-8EAF-4814-9068-92EC26CD3430}"/>
                                            </p:graphicEl>
                                          </p:spTgt>
                                        </p:tgtEl>
                                        <p:attrNameLst>
                                          <p:attrName>style.visibility</p:attrName>
                                        </p:attrNameLst>
                                      </p:cBhvr>
                                      <p:to>
                                        <p:strVal val="visible"/>
                                      </p:to>
                                    </p:set>
                                    <p:animEffect transition="in" filter="fade">
                                      <p:cBhvr>
                                        <p:cTn id="12" dur="500"/>
                                        <p:tgtEl>
                                          <p:spTgt spid="4">
                                            <p:graphicEl>
                                              <a:dgm id="{BFD6C2D9-8EAF-4814-9068-92EC26CD343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C12961E1-1B5A-4A16-B7D5-F0E2A81007BC}"/>
                                            </p:graphicEl>
                                          </p:spTgt>
                                        </p:tgtEl>
                                        <p:attrNameLst>
                                          <p:attrName>style.visibility</p:attrName>
                                        </p:attrNameLst>
                                      </p:cBhvr>
                                      <p:to>
                                        <p:strVal val="visible"/>
                                      </p:to>
                                    </p:set>
                                    <p:animEffect transition="in" filter="fade">
                                      <p:cBhvr>
                                        <p:cTn id="17" dur="500"/>
                                        <p:tgtEl>
                                          <p:spTgt spid="4">
                                            <p:graphicEl>
                                              <a:dgm id="{C12961E1-1B5A-4A16-B7D5-F0E2A81007BC}"/>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22" dur="500"/>
                                        <p:tgtEl>
                                          <p:spTgt spid="4">
                                            <p:graphicEl>
                                              <a:dgm id="{5222C5B1-7198-4817-8170-EA15671F32D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What we learned today</a:t>
            </a:r>
          </a:p>
        </p:txBody>
      </p:sp>
      <p:sp>
        <p:nvSpPr>
          <p:cNvPr id="25" name="Rectangle 24"/>
          <p:cNvSpPr/>
          <p:nvPr/>
        </p:nvSpPr>
        <p:spPr bwMode="gray">
          <a:xfrm>
            <a:off x="736603" y="4696903"/>
            <a:ext cx="10405530" cy="1466765"/>
          </a:xfrm>
          <a:prstGeom prst="rect">
            <a:avLst/>
          </a:prstGeom>
          <a:solidFill>
            <a:srgbClr val="7F498F"/>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ASP.NET</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6" name="Rectangle 25"/>
          <p:cNvSpPr/>
          <p:nvPr/>
        </p:nvSpPr>
        <p:spPr bwMode="gray">
          <a:xfrm>
            <a:off x="736601"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Form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27" name="Rectangle 26"/>
          <p:cNvSpPr/>
          <p:nvPr/>
        </p:nvSpPr>
        <p:spPr bwMode="gray">
          <a:xfrm>
            <a:off x="736600" y="1507522"/>
            <a:ext cx="6587067"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t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0" name="Rectangle 29"/>
          <p:cNvSpPr/>
          <p:nvPr/>
        </p:nvSpPr>
        <p:spPr bwMode="gray">
          <a:xfrm>
            <a:off x="2493327"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a:t>
            </a:r>
          </a:p>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Page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1" name="Rectangle 30"/>
          <p:cNvSpPr/>
          <p:nvPr/>
        </p:nvSpPr>
        <p:spPr bwMode="gray">
          <a:xfrm>
            <a:off x="4250051" y="3143425"/>
            <a:ext cx="5135353" cy="608978"/>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ngle Page Apps</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2" name="Rectangle 31"/>
          <p:cNvSpPr/>
          <p:nvPr/>
        </p:nvSpPr>
        <p:spPr bwMode="gray">
          <a:xfrm>
            <a:off x="4250052" y="3859945"/>
            <a:ext cx="3073615"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MVC</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3" name="Rectangle 32"/>
          <p:cNvSpPr/>
          <p:nvPr/>
        </p:nvSpPr>
        <p:spPr bwMode="gray">
          <a:xfrm>
            <a:off x="7458490" y="3859945"/>
            <a:ext cx="1926916" cy="72941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2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Web API</a:t>
            </a:r>
            <a:endParaRPr lang="en-US" sz="32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4" name="Rectangle 33"/>
          <p:cNvSpPr/>
          <p:nvPr/>
        </p:nvSpPr>
        <p:spPr bwMode="gray">
          <a:xfrm>
            <a:off x="9520230" y="3143425"/>
            <a:ext cx="1621903" cy="1445937"/>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36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ignalR</a:t>
            </a:r>
            <a:endParaRPr lang="en-US" sz="36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
        <p:nvSpPr>
          <p:cNvPr id="36" name="Rectangle 35"/>
          <p:cNvSpPr/>
          <p:nvPr/>
        </p:nvSpPr>
        <p:spPr bwMode="gray">
          <a:xfrm>
            <a:off x="7458491" y="1507523"/>
            <a:ext cx="3683642" cy="1528363"/>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061" fontAlgn="base">
              <a:spcBef>
                <a:spcPct val="0"/>
              </a:spcBef>
              <a:spcAft>
                <a:spcPct val="0"/>
              </a:spcAft>
              <a:defRPr/>
            </a:pPr>
            <a:r>
              <a:rPr lang="en-US" sz="5400" b="1"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rPr>
              <a:t>Services</a:t>
            </a:r>
            <a:endParaRPr lang="en-US" sz="5400" kern="0" spc="-51"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867912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20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20701" y="228601"/>
            <a:ext cx="11149013" cy="747897"/>
          </a:xfrm>
        </p:spPr>
        <p:txBody>
          <a:bodyPr>
            <a:normAutofit fontScale="90000"/>
          </a:bodyPr>
          <a:lstStyle/>
          <a:p>
            <a:r>
              <a:rPr lang="en-US" dirty="0"/>
              <a:t>What we learned today</a:t>
            </a:r>
          </a:p>
        </p:txBody>
      </p:sp>
      <p:graphicFrame>
        <p:nvGraphicFramePr>
          <p:cNvPr id="8" name="Diagram 7"/>
          <p:cNvGraphicFramePr/>
          <p:nvPr>
            <p:extLst>
              <p:ext uri="{D42A27DB-BD31-4B8C-83A1-F6EECF244321}">
                <p14:modId xmlns:p14="http://schemas.microsoft.com/office/powerpoint/2010/main" val="1074702770"/>
              </p:ext>
            </p:extLst>
          </p:nvPr>
        </p:nvGraphicFramePr>
        <p:xfrm>
          <a:off x="520701" y="1193801"/>
          <a:ext cx="11149013" cy="4986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467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88AC33A-9E7B-48FE-AA69-CF0915BA28B4}"/>
                                            </p:graphicEl>
                                          </p:spTgt>
                                        </p:tgtEl>
                                        <p:attrNameLst>
                                          <p:attrName>style.visibility</p:attrName>
                                        </p:attrNameLst>
                                      </p:cBhvr>
                                      <p:to>
                                        <p:strVal val="visible"/>
                                      </p:to>
                                    </p:set>
                                    <p:animEffect transition="in" filter="fade">
                                      <p:cBhvr>
                                        <p:cTn id="7" dur="500"/>
                                        <p:tgtEl>
                                          <p:spTgt spid="8">
                                            <p:graphicEl>
                                              <a:dgm id="{C88AC33A-9E7B-48FE-AA69-CF0915BA28B4}"/>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C17F0E81-FCDB-4D98-9E05-3DD956F33DB3}"/>
                                            </p:graphicEl>
                                          </p:spTgt>
                                        </p:tgtEl>
                                        <p:attrNameLst>
                                          <p:attrName>style.visibility</p:attrName>
                                        </p:attrNameLst>
                                      </p:cBhvr>
                                      <p:to>
                                        <p:strVal val="visible"/>
                                      </p:to>
                                    </p:set>
                                    <p:animEffect transition="in" filter="fade">
                                      <p:cBhvr>
                                        <p:cTn id="10" dur="500"/>
                                        <p:tgtEl>
                                          <p:spTgt spid="8">
                                            <p:graphicEl>
                                              <a:dgm id="{C17F0E81-FCDB-4D98-9E05-3DD956F33DB3}"/>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458817C7-6BEC-45B3-895F-78F93D5B61B1}"/>
                                            </p:graphicEl>
                                          </p:spTgt>
                                        </p:tgtEl>
                                        <p:attrNameLst>
                                          <p:attrName>style.visibility</p:attrName>
                                        </p:attrNameLst>
                                      </p:cBhvr>
                                      <p:to>
                                        <p:strVal val="visible"/>
                                      </p:to>
                                    </p:set>
                                    <p:animEffect transition="in" filter="fade">
                                      <p:cBhvr>
                                        <p:cTn id="13" dur="500"/>
                                        <p:tgtEl>
                                          <p:spTgt spid="8">
                                            <p:graphicEl>
                                              <a:dgm id="{458817C7-6BEC-45B3-895F-78F93D5B61B1}"/>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graphicEl>
                                              <a:dgm id="{E359BF74-4EAA-4A84-851E-79427ACA3040}"/>
                                            </p:graphicEl>
                                          </p:spTgt>
                                        </p:tgtEl>
                                        <p:attrNameLst>
                                          <p:attrName>style.visibility</p:attrName>
                                        </p:attrNameLst>
                                      </p:cBhvr>
                                      <p:to>
                                        <p:strVal val="visible"/>
                                      </p:to>
                                    </p:set>
                                    <p:animEffect transition="in" filter="fade">
                                      <p:cBhvr>
                                        <p:cTn id="18" dur="500"/>
                                        <p:tgtEl>
                                          <p:spTgt spid="8">
                                            <p:graphicEl>
                                              <a:dgm id="{E359BF74-4EAA-4A84-851E-79427ACA3040}"/>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graphicEl>
                                              <a:dgm id="{B710CF74-13DC-491D-8AA7-EE713AB0A121}"/>
                                            </p:graphicEl>
                                          </p:spTgt>
                                        </p:tgtEl>
                                        <p:attrNameLst>
                                          <p:attrName>style.visibility</p:attrName>
                                        </p:attrNameLst>
                                      </p:cBhvr>
                                      <p:to>
                                        <p:strVal val="visible"/>
                                      </p:to>
                                    </p:set>
                                    <p:animEffect transition="in" filter="fade">
                                      <p:cBhvr>
                                        <p:cTn id="21" dur="500"/>
                                        <p:tgtEl>
                                          <p:spTgt spid="8">
                                            <p:graphicEl>
                                              <a:dgm id="{B710CF74-13DC-491D-8AA7-EE713AB0A121}"/>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graphicEl>
                                              <a:dgm id="{CCABAEA6-84A7-43B2-AE3E-AA77E44737BE}"/>
                                            </p:graphicEl>
                                          </p:spTgt>
                                        </p:tgtEl>
                                        <p:attrNameLst>
                                          <p:attrName>style.visibility</p:attrName>
                                        </p:attrNameLst>
                                      </p:cBhvr>
                                      <p:to>
                                        <p:strVal val="visible"/>
                                      </p:to>
                                    </p:set>
                                    <p:animEffect transition="in" filter="fade">
                                      <p:cBhvr>
                                        <p:cTn id="26" dur="500"/>
                                        <p:tgtEl>
                                          <p:spTgt spid="8">
                                            <p:graphicEl>
                                              <a:dgm id="{CCABAEA6-84A7-43B2-AE3E-AA77E44737BE}"/>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
                                            <p:graphicEl>
                                              <a:dgm id="{F4DCD2E3-C30A-4106-8870-66D02E4ED2D8}"/>
                                            </p:graphicEl>
                                          </p:spTgt>
                                        </p:tgtEl>
                                        <p:attrNameLst>
                                          <p:attrName>style.visibility</p:attrName>
                                        </p:attrNameLst>
                                      </p:cBhvr>
                                      <p:to>
                                        <p:strVal val="visible"/>
                                      </p:to>
                                    </p:set>
                                    <p:animEffect transition="in" filter="fade">
                                      <p:cBhvr>
                                        <p:cTn id="29" dur="500"/>
                                        <p:tgtEl>
                                          <p:spTgt spid="8">
                                            <p:graphicEl>
                                              <a:dgm id="{F4DCD2E3-C30A-4106-8870-66D02E4ED2D8}"/>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graphicEl>
                                              <a:dgm id="{D2B54007-1114-44EF-8EEA-3E6760D3169D}"/>
                                            </p:graphicEl>
                                          </p:spTgt>
                                        </p:tgtEl>
                                        <p:attrNameLst>
                                          <p:attrName>style.visibility</p:attrName>
                                        </p:attrNameLst>
                                      </p:cBhvr>
                                      <p:to>
                                        <p:strVal val="visible"/>
                                      </p:to>
                                    </p:set>
                                    <p:animEffect transition="in" filter="fade">
                                      <p:cBhvr>
                                        <p:cTn id="34" dur="500"/>
                                        <p:tgtEl>
                                          <p:spTgt spid="8">
                                            <p:graphicEl>
                                              <a:dgm id="{D2B54007-1114-44EF-8EEA-3E6760D3169D}"/>
                                            </p:graphic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
                                            <p:graphicEl>
                                              <a:dgm id="{C6D19E84-6DD9-43A3-921E-AC3C76D4EF46}"/>
                                            </p:graphicEl>
                                          </p:spTgt>
                                        </p:tgtEl>
                                        <p:attrNameLst>
                                          <p:attrName>style.visibility</p:attrName>
                                        </p:attrNameLst>
                                      </p:cBhvr>
                                      <p:to>
                                        <p:strVal val="visible"/>
                                      </p:to>
                                    </p:set>
                                    <p:animEffect transition="in" filter="fade">
                                      <p:cBhvr>
                                        <p:cTn id="37" dur="500"/>
                                        <p:tgtEl>
                                          <p:spTgt spid="8">
                                            <p:graphicEl>
                                              <a:dgm id="{C6D19E84-6DD9-43A3-921E-AC3C76D4EF46}"/>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dgm id="{9DACB2D5-EADA-42FB-807E-695C820FD52F}"/>
                                            </p:graphicEl>
                                          </p:spTgt>
                                        </p:tgtEl>
                                        <p:attrNameLst>
                                          <p:attrName>style.visibility</p:attrName>
                                        </p:attrNameLst>
                                      </p:cBhvr>
                                      <p:to>
                                        <p:strVal val="visible"/>
                                      </p:to>
                                    </p:set>
                                    <p:animEffect transition="in" filter="fade">
                                      <p:cBhvr>
                                        <p:cTn id="42" dur="500"/>
                                        <p:tgtEl>
                                          <p:spTgt spid="8">
                                            <p:graphicEl>
                                              <a:dgm id="{9DACB2D5-EADA-42FB-807E-695C820FD52F}"/>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
                                            <p:graphicEl>
                                              <a:dgm id="{537CCD8C-EC29-4A94-81A7-0B4E010ADBB1}"/>
                                            </p:graphicEl>
                                          </p:spTgt>
                                        </p:tgtEl>
                                        <p:attrNameLst>
                                          <p:attrName>style.visibility</p:attrName>
                                        </p:attrNameLst>
                                      </p:cBhvr>
                                      <p:to>
                                        <p:strVal val="visible"/>
                                      </p:to>
                                    </p:set>
                                    <p:animEffect transition="in" filter="fade">
                                      <p:cBhvr>
                                        <p:cTn id="45" dur="500"/>
                                        <p:tgtEl>
                                          <p:spTgt spid="8">
                                            <p:graphicEl>
                                              <a:dgm id="{537CCD8C-EC29-4A94-81A7-0B4E010ADBB1}"/>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
                                            <p:graphicEl>
                                              <a:dgm id="{0890763D-4DAB-412B-8174-6F5ADECA768A}"/>
                                            </p:graphicEl>
                                          </p:spTgt>
                                        </p:tgtEl>
                                        <p:attrNameLst>
                                          <p:attrName>style.visibility</p:attrName>
                                        </p:attrNameLst>
                                      </p:cBhvr>
                                      <p:to>
                                        <p:strVal val="visible"/>
                                      </p:to>
                                    </p:set>
                                    <p:animEffect transition="in" filter="fade">
                                      <p:cBhvr>
                                        <p:cTn id="50" dur="500"/>
                                        <p:tgtEl>
                                          <p:spTgt spid="8">
                                            <p:graphicEl>
                                              <a:dgm id="{0890763D-4DAB-412B-8174-6F5ADECA768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
                                            <p:graphicEl>
                                              <a:dgm id="{3CDC6EAF-654A-40F3-B5C2-E5916E974EC3}"/>
                                            </p:graphicEl>
                                          </p:spTgt>
                                        </p:tgtEl>
                                        <p:attrNameLst>
                                          <p:attrName>style.visibility</p:attrName>
                                        </p:attrNameLst>
                                      </p:cBhvr>
                                      <p:to>
                                        <p:strVal val="visible"/>
                                      </p:to>
                                    </p:set>
                                    <p:animEffect transition="in" filter="fade">
                                      <p:cBhvr>
                                        <p:cTn id="53" dur="500"/>
                                        <p:tgtEl>
                                          <p:spTgt spid="8">
                                            <p:graphicEl>
                                              <a:dgm id="{3CDC6EAF-654A-40F3-B5C2-E5916E974EC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30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4" y="209627"/>
            <a:ext cx="11158536" cy="747897"/>
          </a:xfrm>
          <a:prstGeom prst="rect">
            <a:avLst/>
          </a:prstGeom>
        </p:spPr>
        <p:txBody>
          <a:bodyPr>
            <a:normAutofit fontScale="90000"/>
          </a:bodyPr>
          <a:lstStyle/>
          <a:p>
            <a:r>
              <a:rPr lang="en-US" dirty="0" smtClean="0"/>
              <a:t>What you can do next</a:t>
            </a:r>
            <a:endParaRPr lang="en-US" dirty="0"/>
          </a:p>
        </p:txBody>
      </p:sp>
      <p:grpSp>
        <p:nvGrpSpPr>
          <p:cNvPr id="20" name="Group 19"/>
          <p:cNvGrpSpPr/>
          <p:nvPr/>
        </p:nvGrpSpPr>
        <p:grpSpPr>
          <a:xfrm>
            <a:off x="927916" y="1845987"/>
            <a:ext cx="3067338" cy="3162921"/>
            <a:chOff x="926328" y="1845986"/>
            <a:chExt cx="3067338" cy="3162921"/>
          </a:xfrm>
        </p:grpSpPr>
        <p:grpSp>
          <p:nvGrpSpPr>
            <p:cNvPr id="4" name="Group 3"/>
            <p:cNvGrpSpPr/>
            <p:nvPr/>
          </p:nvGrpSpPr>
          <p:grpSpPr>
            <a:xfrm>
              <a:off x="926328" y="1845986"/>
              <a:ext cx="3067338" cy="2435071"/>
              <a:chOff x="6078537" y="1695450"/>
              <a:chExt cx="5597525" cy="4089124"/>
            </a:xfrm>
          </p:grpSpPr>
          <p:sp>
            <p:nvSpPr>
              <p:cNvPr id="10" name="Rectangle 9"/>
              <p:cNvSpPr/>
              <p:nvPr/>
            </p:nvSpPr>
            <p:spPr bwMode="auto">
              <a:xfrm>
                <a:off x="6078537" y="1695450"/>
                <a:ext cx="5597525" cy="40891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1472" name="Picture 32" descr="http://upload.wikimedia.org/wikipedia/en/thumb/b/ba/Visual-Studio-2012-logo.svg/2000px-Visual-Studio-2012-logo.svg.png"/>
              <p:cNvPicPr>
                <a:picLocks noChangeAspect="1" noChangeArrowheads="1"/>
              </p:cNvPicPr>
              <p:nvPr/>
            </p:nvPicPr>
            <p:blipFill rotWithShape="1">
              <a:blip r:embed="rId7">
                <a:extLst>
                  <a:ext uri="{28A0092B-C50C-407E-A947-70E740481C1C}">
                    <a14:useLocalDpi xmlns:a14="http://schemas.microsoft.com/office/drawing/2010/main" val="0"/>
                  </a:ext>
                </a:extLst>
              </a:blip>
              <a:srcRect r="83020"/>
              <a:stretch/>
            </p:blipFill>
            <p:spPr bwMode="auto">
              <a:xfrm>
                <a:off x="7644982" y="2255122"/>
                <a:ext cx="2464633" cy="2438554"/>
              </a:xfrm>
              <a:prstGeom prst="rect">
                <a:avLst/>
              </a:prstGeom>
              <a:noFill/>
              <a:extLst>
                <a:ext uri="{909E8E84-426E-40DD-AFC4-6F175D3DCCD1}">
                  <a14:hiddenFill xmlns:a14="http://schemas.microsoft.com/office/drawing/2010/main">
                    <a:solidFill>
                      <a:srgbClr val="FFFFFF"/>
                    </a:solidFill>
                  </a14:hiddenFill>
                </a:ext>
              </a:extLst>
            </p:spPr>
          </p:pic>
          <p:pic>
            <p:nvPicPr>
              <p:cNvPr id="61475" name="Picture 35" descr="http://upload.wikimedia.org/wikipedia/en/thumb/b/ba/Visual-Studio-2012-logo.svg/2000px-Visual-Studio-2012-logo.svg.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316"/>
              <a:stretch/>
            </p:blipFill>
            <p:spPr bwMode="auto">
              <a:xfrm>
                <a:off x="6647543" y="4693676"/>
                <a:ext cx="4440464" cy="93619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itle 6"/>
            <p:cNvSpPr txBox="1">
              <a:spLocks/>
            </p:cNvSpPr>
            <p:nvPr/>
          </p:nvSpPr>
          <p:spPr>
            <a:xfrm>
              <a:off x="926328"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Build</a:t>
              </a:r>
            </a:p>
          </p:txBody>
        </p:sp>
      </p:grpSp>
      <p:grpSp>
        <p:nvGrpSpPr>
          <p:cNvPr id="16" name="Group 15"/>
          <p:cNvGrpSpPr/>
          <p:nvPr/>
        </p:nvGrpSpPr>
        <p:grpSpPr>
          <a:xfrm>
            <a:off x="4219589" y="1845987"/>
            <a:ext cx="3333323" cy="3162921"/>
            <a:chOff x="4218000" y="1845986"/>
            <a:chExt cx="3333323" cy="3162921"/>
          </a:xfrm>
        </p:grpSpPr>
        <p:grpSp>
          <p:nvGrpSpPr>
            <p:cNvPr id="8" name="Group 7"/>
            <p:cNvGrpSpPr/>
            <p:nvPr/>
          </p:nvGrpSpPr>
          <p:grpSpPr>
            <a:xfrm>
              <a:off x="4218000" y="1845986"/>
              <a:ext cx="3333323" cy="2435071"/>
              <a:chOff x="4218000" y="1596602"/>
              <a:chExt cx="3333323" cy="2435071"/>
            </a:xfrm>
          </p:grpSpPr>
          <p:sp>
            <p:nvSpPr>
              <p:cNvPr id="12" name="Rectangle 11"/>
              <p:cNvSpPr/>
              <p:nvPr/>
            </p:nvSpPr>
            <p:spPr bwMode="auto">
              <a:xfrm>
                <a:off x="4218000" y="1596602"/>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19038" y="1714002"/>
                <a:ext cx="2200272" cy="2200272"/>
              </a:xfrm>
              <a:prstGeom prst="rect">
                <a:avLst/>
              </a:prstGeom>
            </p:spPr>
          </p:pic>
        </p:grpSp>
        <p:sp>
          <p:nvSpPr>
            <p:cNvPr id="18" name="Title 6"/>
            <p:cNvSpPr txBox="1">
              <a:spLocks/>
            </p:cNvSpPr>
            <p:nvPr/>
          </p:nvSpPr>
          <p:spPr>
            <a:xfrm>
              <a:off x="4218000" y="4454909"/>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Contribute</a:t>
              </a:r>
            </a:p>
          </p:txBody>
        </p:sp>
      </p:grpSp>
      <p:grpSp>
        <p:nvGrpSpPr>
          <p:cNvPr id="9" name="Group 8"/>
          <p:cNvGrpSpPr/>
          <p:nvPr/>
        </p:nvGrpSpPr>
        <p:grpSpPr>
          <a:xfrm>
            <a:off x="7303908" y="1728416"/>
            <a:ext cx="4126686" cy="3269018"/>
            <a:chOff x="7302320" y="1728416"/>
            <a:chExt cx="4126686" cy="3269018"/>
          </a:xfrm>
        </p:grpSpPr>
        <p:grpSp>
          <p:nvGrpSpPr>
            <p:cNvPr id="6" name="Group 5"/>
            <p:cNvGrpSpPr/>
            <p:nvPr/>
          </p:nvGrpSpPr>
          <p:grpSpPr>
            <a:xfrm>
              <a:off x="7302320" y="1728416"/>
              <a:ext cx="4126686" cy="2670208"/>
              <a:chOff x="7302320" y="1479032"/>
              <a:chExt cx="4126686" cy="2670208"/>
            </a:xfrm>
          </p:grpSpPr>
          <p:sp>
            <p:nvSpPr>
              <p:cNvPr id="15" name="Rectangle 14"/>
              <p:cNvSpPr/>
              <p:nvPr/>
            </p:nvSpPr>
            <p:spPr bwMode="auto">
              <a:xfrm>
                <a:off x="7775657" y="1596601"/>
                <a:ext cx="3333323" cy="24350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2320" y="1479032"/>
                <a:ext cx="4126686" cy="2670208"/>
              </a:xfrm>
              <a:prstGeom prst="rect">
                <a:avLst/>
              </a:prstGeom>
            </p:spPr>
          </p:pic>
        </p:grpSp>
        <p:sp>
          <p:nvSpPr>
            <p:cNvPr id="19" name="Title 6"/>
            <p:cNvSpPr txBox="1">
              <a:spLocks/>
            </p:cNvSpPr>
            <p:nvPr/>
          </p:nvSpPr>
          <p:spPr>
            <a:xfrm>
              <a:off x="7775657" y="4443436"/>
              <a:ext cx="3067338" cy="5539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algn="ctr"/>
              <a:r>
                <a:rPr lang="en-US" sz="4000" dirty="0"/>
                <a:t>Grow</a:t>
              </a:r>
            </a:p>
          </p:txBody>
        </p:sp>
      </p:grpSp>
    </p:spTree>
    <p:extLst>
      <p:ext uri="{BB962C8B-B14F-4D97-AF65-F5344CB8AC3E}">
        <p14:creationId xmlns:p14="http://schemas.microsoft.com/office/powerpoint/2010/main" val="781821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op resources for more info</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59016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P.NET Questions</a:t>
            </a:r>
            <a:endParaRPr lang="en-US" dirty="0"/>
          </a:p>
        </p:txBody>
      </p:sp>
      <p:sp>
        <p:nvSpPr>
          <p:cNvPr id="3" name="Text Placeholder 2"/>
          <p:cNvSpPr>
            <a:spLocks noGrp="1"/>
          </p:cNvSpPr>
          <p:nvPr>
            <p:ph type="body" sz="quarter" idx="10"/>
          </p:nvPr>
        </p:nvSpPr>
        <p:spPr>
          <a:xfrm>
            <a:off x="520700" y="1179680"/>
            <a:ext cx="11149013" cy="3785652"/>
          </a:xfrm>
        </p:spPr>
        <p:txBody>
          <a:bodyPr>
            <a:normAutofit lnSpcReduction="10000"/>
          </a:bodyPr>
          <a:lstStyle/>
          <a:p>
            <a:r>
              <a:rPr lang="en-US" sz="4800" b="0" dirty="0">
                <a:solidFill>
                  <a:schemeClr val="bg1"/>
                </a:solidFill>
              </a:rPr>
              <a:t>http://www.asp.net/feedback</a:t>
            </a:r>
          </a:p>
          <a:p>
            <a:endParaRPr lang="en-US" sz="4800" b="0" dirty="0">
              <a:solidFill>
                <a:schemeClr val="bg1"/>
              </a:solidFill>
            </a:endParaRPr>
          </a:p>
          <a:p>
            <a:r>
              <a:rPr lang="en-US" sz="4800" b="0" dirty="0">
                <a:solidFill>
                  <a:schemeClr val="bg1"/>
                </a:solidFill>
              </a:rPr>
              <a:t>Twitter - @</a:t>
            </a:r>
            <a:r>
              <a:rPr lang="en-US" sz="4800" b="0" dirty="0" err="1">
                <a:solidFill>
                  <a:schemeClr val="bg1"/>
                </a:solidFill>
              </a:rPr>
              <a:t>aspnet</a:t>
            </a:r>
            <a:endParaRPr lang="en-US" sz="4800" b="0" dirty="0">
              <a:solidFill>
                <a:schemeClr val="bg1"/>
              </a:solidFill>
            </a:endParaRPr>
          </a:p>
          <a:p>
            <a:r>
              <a:rPr lang="en-US" sz="4800" b="0" dirty="0">
                <a:solidFill>
                  <a:schemeClr val="bg1"/>
                </a:solidFill>
              </a:rPr>
              <a:t>Facebook - /ASPNET</a:t>
            </a:r>
          </a:p>
          <a:p>
            <a:r>
              <a:rPr lang="en-US" sz="4800" b="0" dirty="0">
                <a:solidFill>
                  <a:schemeClr val="bg1"/>
                </a:solidFill>
              </a:rPr>
              <a:t>G+ - ASP.NET</a:t>
            </a:r>
          </a:p>
        </p:txBody>
      </p:sp>
    </p:spTree>
    <p:extLst>
      <p:ext uri="{BB962C8B-B14F-4D97-AF65-F5344CB8AC3E}">
        <p14:creationId xmlns:p14="http://schemas.microsoft.com/office/powerpoint/2010/main" val="168454231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ck Titl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89FD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Gree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zure Grap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Azure Dar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zure Basi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Azure Noi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0</TotalTime>
  <Words>612</Words>
  <Application>Microsoft Office PowerPoint</Application>
  <PresentationFormat>Widescreen</PresentationFormat>
  <Paragraphs>79</Paragraphs>
  <Slides>13</Slides>
  <Notes>4</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26" baseType="lpstr">
      <vt:lpstr>Arial</vt:lpstr>
      <vt:lpstr>Calibri</vt:lpstr>
      <vt:lpstr>Segoe UI</vt:lpstr>
      <vt:lpstr>Segoe UI Light</vt:lpstr>
      <vt:lpstr>Segoe UI Semibold</vt:lpstr>
      <vt:lpstr>Deck Title Slide</vt:lpstr>
      <vt:lpstr>Azure Medium</vt:lpstr>
      <vt:lpstr>Azure Green</vt:lpstr>
      <vt:lpstr>Azure Graphite</vt:lpstr>
      <vt:lpstr>Azure Dark</vt:lpstr>
      <vt:lpstr>Azure Basic</vt:lpstr>
      <vt:lpstr>Azure Noir</vt:lpstr>
      <vt:lpstr>think-cell Slide</vt:lpstr>
      <vt:lpstr>What’s next</vt:lpstr>
      <vt:lpstr>Agenda</vt:lpstr>
      <vt:lpstr>What we covered</vt:lpstr>
      <vt:lpstr>What we learned today</vt:lpstr>
      <vt:lpstr>What we learned today</vt:lpstr>
      <vt:lpstr>What we learned today</vt:lpstr>
      <vt:lpstr>What you can do next</vt:lpstr>
      <vt:lpstr>Top resources for more info</vt:lpstr>
      <vt:lpstr>ASP.NET Questions</vt:lpstr>
      <vt:lpstr>Web Camps</vt:lpstr>
      <vt:lpstr>Microsoft Azure</vt:lpstr>
      <vt:lpstr>ASP.NET sit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Galloway</dc:creator>
  <cp:lastModifiedBy>Jon Galloway</cp:lastModifiedBy>
  <cp:revision>21</cp:revision>
  <dcterms:created xsi:type="dcterms:W3CDTF">2013-08-05T17:04:56Z</dcterms:created>
  <dcterms:modified xsi:type="dcterms:W3CDTF">2014-10-04T00:37:03Z</dcterms:modified>
</cp:coreProperties>
</file>